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11"/>
  </p:notesMasterIdLst>
  <p:handoutMasterIdLst>
    <p:handoutMasterId r:id="rId12"/>
  </p:handoutMasterIdLst>
  <p:sldIdLst>
    <p:sldId id="340" r:id="rId6"/>
    <p:sldId id="448" r:id="rId7"/>
    <p:sldId id="455" r:id="rId8"/>
    <p:sldId id="447" r:id="rId9"/>
    <p:sldId id="445" r:id="rId10"/>
  </p:sldIdLst>
  <p:sldSz cx="9144000" cy="6858000" type="screen4x3"/>
  <p:notesSz cx="7315200" cy="96012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984" autoAdjust="0"/>
  </p:normalViewPr>
  <p:slideViewPr>
    <p:cSldViewPr snapToGrid="0" showGuides="1">
      <p:cViewPr varScale="1">
        <p:scale>
          <a:sx n="85" d="100"/>
          <a:sy n="85" d="100"/>
        </p:scale>
        <p:origin x="1334" y="7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7/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7/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7093613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3"/>
          <p:cNvSpPr>
            <a:spLocks noGrp="1"/>
          </p:cNvSpPr>
          <p:nvPr>
            <p:ph type="ftr" sz="quarter" idx="10"/>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5" name="Slide Number Placeholder 4"/>
          <p:cNvSpPr>
            <a:spLocks noGrp="1"/>
          </p:cNvSpPr>
          <p:nvPr>
            <p:ph type="sldNum" sz="quarter" idx="11"/>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2" name="Footer Placeholder 1"/>
          <p:cNvSpPr>
            <a:spLocks noGrp="1"/>
          </p:cNvSpPr>
          <p:nvPr>
            <p:ph type="ftr" sz="quarter" idx="11"/>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2"/>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2" name="Footer Placeholder 1"/>
          <p:cNvSpPr>
            <a:spLocks noGrp="1"/>
          </p:cNvSpPr>
          <p:nvPr>
            <p:ph type="ftr" sz="quarter" idx="11"/>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2"/>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2" name="Footer Placeholder 1"/>
          <p:cNvSpPr>
            <a:spLocks noGrp="1"/>
          </p:cNvSpPr>
          <p:nvPr>
            <p:ph type="ftr" sz="quarter" idx="11"/>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2"/>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2" name="Footer Placeholder 1"/>
          <p:cNvSpPr>
            <a:spLocks noGrp="1"/>
          </p:cNvSpPr>
          <p:nvPr>
            <p:ph type="ftr" sz="quarter" idx="11"/>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2"/>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2" name="Footer Placeholder 1"/>
          <p:cNvSpPr>
            <a:spLocks noGrp="1"/>
          </p:cNvSpPr>
          <p:nvPr>
            <p:ph type="ftr" sz="quarter" idx="11"/>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2"/>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2" name="Footer Placeholder 1"/>
          <p:cNvSpPr>
            <a:spLocks noGrp="1"/>
          </p:cNvSpPr>
          <p:nvPr>
            <p:ph type="ftr" sz="quarter" idx="11"/>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2"/>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Footer Placeholder 1"/>
          <p:cNvSpPr>
            <a:spLocks noGrp="1"/>
          </p:cNvSpPr>
          <p:nvPr>
            <p:ph type="ftr" sz="quarter" idx="16"/>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7"/>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with subtitle and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33409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Footer Placeholder 1"/>
          <p:cNvSpPr>
            <a:spLocks noGrp="1"/>
          </p:cNvSpPr>
          <p:nvPr>
            <p:ph type="ftr" sz="quarter" idx="16"/>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7"/>
          </p:nvPr>
        </p:nvSpPr>
        <p:spPr/>
        <p:txBody>
          <a:bodyPr/>
          <a:lstStyle/>
          <a:p>
            <a:fld id="{C58DF478-B544-4ED8-9ED4-6A2648E2D233}" type="slidenum">
              <a:rPr lang="en-US" smtClean="0">
                <a:solidFill>
                  <a:schemeClr val="tx1"/>
                </a:solidFill>
              </a:rPr>
              <a:pPr/>
              <a:t>‹#›</a:t>
            </a:fld>
            <a:endParaRPr lang="en-US"/>
          </a:p>
        </p:txBody>
      </p:sp>
      <p:sp>
        <p:nvSpPr>
          <p:cNvPr id="8"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100755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Footer Placeholder 2"/>
          <p:cNvSpPr>
            <a:spLocks noGrp="1"/>
          </p:cNvSpPr>
          <p:nvPr>
            <p:ph type="ftr" sz="quarter" idx="10"/>
          </p:nvPr>
        </p:nvSpPr>
        <p:spPr/>
        <p:txBody>
          <a:body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5" name="Slide Number Placeholder 4"/>
          <p:cNvSpPr>
            <a:spLocks noGrp="1"/>
          </p:cNvSpPr>
          <p:nvPr>
            <p:ph type="sldNum" sz="quarter" idx="11"/>
          </p:nvPr>
        </p:nvSpPr>
        <p:spPr/>
        <p:txBody>
          <a:bodyPr/>
          <a:lstStyle/>
          <a:p>
            <a:fld id="{C58DF478-B544-4ED8-9ED4-6A2648E2D233}" type="slidenum">
              <a:rPr lang="en-US" smtClean="0"/>
              <a:pPr/>
              <a:t>‹#›</a:t>
            </a:fld>
            <a:endParaRPr lang="en-US"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Footer Placeholder 1"/>
          <p:cNvSpPr>
            <a:spLocks noGrp="1"/>
          </p:cNvSpPr>
          <p:nvPr>
            <p:ph type="ftr" sz="quarter" idx="14"/>
          </p:nvPr>
        </p:nvSpPr>
        <p:spPr/>
        <p:txBody>
          <a:body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5"/>
          </p:nvPr>
        </p:nvSpPr>
        <p:spPr/>
        <p:txBody>
          <a:bodyPr/>
          <a:lstStyle/>
          <a:p>
            <a:fld id="{C58DF478-B544-4ED8-9ED4-6A2648E2D233}" type="slidenum">
              <a:rPr lang="en-US" smtClean="0"/>
              <a:pPr/>
              <a:t>‹#›</a:t>
            </a:fld>
            <a:endParaRPr lang="en-US"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
        <p:nvSpPr>
          <p:cNvPr id="2" name="Footer Placeholder 1"/>
          <p:cNvSpPr>
            <a:spLocks noGrp="1"/>
          </p:cNvSpPr>
          <p:nvPr>
            <p:ph type="ftr" sz="quarter" idx="24"/>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25"/>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
        <p:nvSpPr>
          <p:cNvPr id="2" name="Footer Placeholder 1"/>
          <p:cNvSpPr>
            <a:spLocks noGrp="1"/>
          </p:cNvSpPr>
          <p:nvPr>
            <p:ph type="ftr" sz="quarter" idx="24"/>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25"/>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Footer Placeholder 1"/>
          <p:cNvSpPr>
            <a:spLocks noGrp="1"/>
          </p:cNvSpPr>
          <p:nvPr>
            <p:ph type="ftr" sz="quarter" idx="21"/>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22"/>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
        <p:nvSpPr>
          <p:cNvPr id="2" name="Footer Placeholder 1"/>
          <p:cNvSpPr>
            <a:spLocks noGrp="1"/>
          </p:cNvSpPr>
          <p:nvPr>
            <p:ph type="ftr" sz="quarter" idx="24"/>
          </p:nvPr>
        </p:nvSpPr>
        <p:spPr/>
        <p:txBody>
          <a:body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4" name="Slide Number Placeholder 3"/>
          <p:cNvSpPr>
            <a:spLocks noGrp="1"/>
          </p:cNvSpPr>
          <p:nvPr>
            <p:ph type="sldNum" sz="quarter" idx="25"/>
          </p:nvPr>
        </p:nvSpPr>
        <p:spPr/>
        <p:txBody>
          <a:bodyPr/>
          <a:lstStyle/>
          <a:p>
            <a:fld id="{C58DF478-B544-4ED8-9ED4-6A2648E2D233}" type="slidenum">
              <a:rPr lang="en-US" smtClean="0"/>
              <a:pPr/>
              <a:t>‹#›</a:t>
            </a:fld>
            <a:endParaRPr lang="en-US"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
        <p:nvSpPr>
          <p:cNvPr id="2" name="Footer Placeholder 1"/>
          <p:cNvSpPr>
            <a:spLocks noGrp="1"/>
          </p:cNvSpPr>
          <p:nvPr>
            <p:ph type="ftr" sz="quarter" idx="26"/>
          </p:nvPr>
        </p:nvSpPr>
        <p:spPr/>
        <p:txBody>
          <a:body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4" name="Slide Number Placeholder 3"/>
          <p:cNvSpPr>
            <a:spLocks noGrp="1"/>
          </p:cNvSpPr>
          <p:nvPr>
            <p:ph type="sldNum" sz="quarter" idx="27"/>
          </p:nvPr>
        </p:nvSpPr>
        <p:spPr/>
        <p:txBody>
          <a:bodyPr/>
          <a:lstStyle/>
          <a:p>
            <a:fld id="{C58DF478-B544-4ED8-9ED4-6A2648E2D233}" type="slidenum">
              <a:rPr lang="en-US" smtClean="0"/>
              <a:pPr/>
              <a:t>‹#›</a:t>
            </a:fld>
            <a:endParaRPr lang="en-US"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Footer Placeholder 1"/>
          <p:cNvSpPr>
            <a:spLocks noGrp="1"/>
          </p:cNvSpPr>
          <p:nvPr>
            <p:ph type="ftr" sz="quarter" idx="17"/>
          </p:nvPr>
        </p:nvSpPr>
        <p:spPr/>
        <p:txBody>
          <a:body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3" name="Slide Number Placeholder 2"/>
          <p:cNvSpPr>
            <a:spLocks noGrp="1"/>
          </p:cNvSpPr>
          <p:nvPr>
            <p:ph type="sldNum" sz="quarter" idx="18"/>
          </p:nvPr>
        </p:nvSpPr>
        <p:spPr/>
        <p:txBody>
          <a:bodyPr/>
          <a:lstStyle/>
          <a:p>
            <a:fld id="{C58DF478-B544-4ED8-9ED4-6A2648E2D233}" type="slidenum">
              <a:rPr lang="en-US" smtClean="0"/>
              <a:pPr/>
              <a:t>‹#›</a:t>
            </a:fld>
            <a:endParaRPr lang="en-US"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 name="Footer Placeholder 1"/>
          <p:cNvSpPr>
            <a:spLocks noGrp="1"/>
          </p:cNvSpPr>
          <p:nvPr>
            <p:ph type="ftr" sz="quarter" idx="17"/>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8"/>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verview with photos">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22"/>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8" name="Slide Number Placeholder 7"/>
          <p:cNvSpPr>
            <a:spLocks noGrp="1"/>
          </p:cNvSpPr>
          <p:nvPr>
            <p:ph type="sldNum" sz="quarter" idx="23"/>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13" name="Text Placeholder 12"/>
          <p:cNvSpPr>
            <a:spLocks noGrp="1"/>
          </p:cNvSpPr>
          <p:nvPr>
            <p:ph type="body" sz="quarter" idx="32"/>
          </p:nvPr>
        </p:nvSpPr>
        <p:spPr>
          <a:xfrm>
            <a:off x="2237503" y="1880213"/>
            <a:ext cx="219456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553440" y="1880213"/>
            <a:ext cx="219456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237503" y="4256213"/>
            <a:ext cx="219456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553440" y="4256213"/>
            <a:ext cx="219456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36"/>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12" name="Slide Number Placeholder 11"/>
          <p:cNvSpPr>
            <a:spLocks noGrp="1"/>
          </p:cNvSpPr>
          <p:nvPr>
            <p:ph type="sldNum" sz="quarter" idx="37"/>
          </p:nvPr>
        </p:nvSpPr>
        <p:spPr/>
        <p:txBody>
          <a:bodyPr/>
          <a:lstStyle/>
          <a:p>
            <a:fld id="{C58DF478-B544-4ED8-9ED4-6A2648E2D233}" type="slidenum">
              <a:rPr lang="en-US" smtClean="0">
                <a:solidFill>
                  <a:schemeClr val="tx1"/>
                </a:solidFill>
              </a:rPr>
              <a:pPr/>
              <a:t>‹#›</a:t>
            </a:fld>
            <a:endParaRPr lang="en-US"/>
          </a:p>
        </p:txBody>
      </p:sp>
      <p:sp>
        <p:nvSpPr>
          <p:cNvPr id="19" name="Picture Placeholder 18"/>
          <p:cNvSpPr>
            <a:spLocks noGrp="1"/>
          </p:cNvSpPr>
          <p:nvPr>
            <p:ph type="pic" sz="quarter" idx="38"/>
          </p:nvPr>
        </p:nvSpPr>
        <p:spPr>
          <a:xfrm>
            <a:off x="376237" y="1879600"/>
            <a:ext cx="1737360" cy="1944688"/>
          </a:xfrm>
        </p:spPr>
        <p:txBody>
          <a:bodyPr/>
          <a:lstStyle/>
          <a:p>
            <a:r>
              <a:rPr lang="en-US" smtClean="0"/>
              <a:t>Click icon to add picture</a:t>
            </a:r>
            <a:endParaRPr lang="en-US"/>
          </a:p>
        </p:txBody>
      </p:sp>
      <p:sp>
        <p:nvSpPr>
          <p:cNvPr id="20" name="Picture Placeholder 18"/>
          <p:cNvSpPr>
            <a:spLocks noGrp="1"/>
          </p:cNvSpPr>
          <p:nvPr>
            <p:ph type="pic" sz="quarter" idx="39"/>
          </p:nvPr>
        </p:nvSpPr>
        <p:spPr>
          <a:xfrm>
            <a:off x="4692174" y="1879600"/>
            <a:ext cx="1737360" cy="1944688"/>
          </a:xfrm>
        </p:spPr>
        <p:txBody>
          <a:bodyPr/>
          <a:lstStyle/>
          <a:p>
            <a:r>
              <a:rPr lang="en-US" smtClean="0"/>
              <a:t>Click icon to add picture</a:t>
            </a:r>
            <a:endParaRPr lang="en-US"/>
          </a:p>
        </p:txBody>
      </p:sp>
      <p:sp>
        <p:nvSpPr>
          <p:cNvPr id="21" name="Picture Placeholder 18"/>
          <p:cNvSpPr>
            <a:spLocks noGrp="1"/>
          </p:cNvSpPr>
          <p:nvPr>
            <p:ph type="pic" sz="quarter" idx="40"/>
          </p:nvPr>
        </p:nvSpPr>
        <p:spPr>
          <a:xfrm>
            <a:off x="376237" y="4255525"/>
            <a:ext cx="1737360" cy="1944688"/>
          </a:xfrm>
        </p:spPr>
        <p:txBody>
          <a:bodyPr/>
          <a:lstStyle/>
          <a:p>
            <a:r>
              <a:rPr lang="en-US" smtClean="0"/>
              <a:t>Click icon to add picture</a:t>
            </a:r>
            <a:endParaRPr lang="en-US"/>
          </a:p>
        </p:txBody>
      </p:sp>
      <p:sp>
        <p:nvSpPr>
          <p:cNvPr id="22" name="Picture Placeholder 18"/>
          <p:cNvSpPr>
            <a:spLocks noGrp="1"/>
          </p:cNvSpPr>
          <p:nvPr>
            <p:ph type="pic" sz="quarter" idx="41"/>
          </p:nvPr>
        </p:nvSpPr>
        <p:spPr>
          <a:xfrm>
            <a:off x="4692174" y="4255525"/>
            <a:ext cx="1737360" cy="1944688"/>
          </a:xfrm>
        </p:spPr>
        <p:txBody>
          <a:bodyPr/>
          <a:lstStyle/>
          <a:p>
            <a:r>
              <a:rPr lang="en-US" smtClean="0"/>
              <a:t>Click icon to add picture</a:t>
            </a:r>
            <a:endParaRPr lang="en-US"/>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19"/>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7" name="Slide Number Placeholder 6"/>
          <p:cNvSpPr>
            <a:spLocks noGrp="1"/>
          </p:cNvSpPr>
          <p:nvPr>
            <p:ph type="sldNum" sz="quarter" idx="20"/>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Footer Placeholder 1"/>
          <p:cNvSpPr>
            <a:spLocks noGrp="1"/>
          </p:cNvSpPr>
          <p:nvPr>
            <p:ph type="ftr" sz="quarter" idx="14"/>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5"/>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g chart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4" name="Picture Placeholder 67"/>
          <p:cNvSpPr>
            <a:spLocks noGrp="1" noChangeAspect="1"/>
          </p:cNvSpPr>
          <p:nvPr>
            <p:ph type="pic" sz="quarter" idx="15"/>
          </p:nvPr>
        </p:nvSpPr>
        <p:spPr>
          <a:xfrm>
            <a:off x="376975"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5" name="Picture Placeholder 67"/>
          <p:cNvSpPr>
            <a:spLocks noGrp="1" noChangeAspect="1"/>
          </p:cNvSpPr>
          <p:nvPr>
            <p:ph type="pic" sz="quarter" idx="14"/>
          </p:nvPr>
        </p:nvSpPr>
        <p:spPr>
          <a:xfrm>
            <a:off x="3147892" y="1876985"/>
            <a:ext cx="978408" cy="978408"/>
          </a:xfrm>
          <a:ln>
            <a:solidFill>
              <a:schemeClr val="accent6">
                <a:lumMod val="20000"/>
                <a:lumOff val="80000"/>
              </a:schemeClr>
            </a:solidFill>
          </a:ln>
        </p:spPr>
        <p:txBody>
          <a:bodyPr/>
          <a:lstStyle/>
          <a:p>
            <a:r>
              <a:rPr lang="en-US" smtClean="0"/>
              <a:t>Click icon to add picture</a:t>
            </a:r>
            <a:endParaRPr lang="en-US" dirty="0"/>
          </a:p>
        </p:txBody>
      </p:sp>
      <p:sp>
        <p:nvSpPr>
          <p:cNvPr id="6" name="Picture Placeholder 67"/>
          <p:cNvSpPr>
            <a:spLocks noGrp="1" noChangeAspect="1"/>
          </p:cNvSpPr>
          <p:nvPr>
            <p:ph type="pic" sz="quarter" idx="51"/>
          </p:nvPr>
        </p:nvSpPr>
        <p:spPr>
          <a:xfrm>
            <a:off x="1228021"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7" name="Picture Placeholder 67"/>
          <p:cNvSpPr>
            <a:spLocks noGrp="1" noChangeAspect="1"/>
          </p:cNvSpPr>
          <p:nvPr>
            <p:ph type="pic" sz="quarter" idx="54"/>
          </p:nvPr>
        </p:nvSpPr>
        <p:spPr>
          <a:xfrm>
            <a:off x="2086897"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8" name="Picture Placeholder 67"/>
          <p:cNvSpPr>
            <a:spLocks noGrp="1" noChangeAspect="1"/>
          </p:cNvSpPr>
          <p:nvPr>
            <p:ph type="pic" sz="quarter" idx="57"/>
          </p:nvPr>
        </p:nvSpPr>
        <p:spPr>
          <a:xfrm>
            <a:off x="2928292"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9" name="Picture Placeholder 67"/>
          <p:cNvSpPr>
            <a:spLocks noGrp="1" noChangeAspect="1"/>
          </p:cNvSpPr>
          <p:nvPr>
            <p:ph type="pic" sz="quarter" idx="60"/>
          </p:nvPr>
        </p:nvSpPr>
        <p:spPr>
          <a:xfrm>
            <a:off x="3799374"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12" name="Picture Placeholder 67"/>
          <p:cNvSpPr>
            <a:spLocks noGrp="1" noChangeAspect="1"/>
          </p:cNvSpPr>
          <p:nvPr>
            <p:ph type="pic" sz="quarter" idx="63"/>
          </p:nvPr>
        </p:nvSpPr>
        <p:spPr>
          <a:xfrm>
            <a:off x="4632534"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13" name="Picture Placeholder 67"/>
          <p:cNvSpPr>
            <a:spLocks noGrp="1" noChangeAspect="1"/>
          </p:cNvSpPr>
          <p:nvPr>
            <p:ph type="pic" sz="quarter" idx="66"/>
          </p:nvPr>
        </p:nvSpPr>
        <p:spPr>
          <a:xfrm>
            <a:off x="5487043"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17" name="Text Placeholder 5"/>
          <p:cNvSpPr>
            <a:spLocks noGrp="1"/>
          </p:cNvSpPr>
          <p:nvPr>
            <p:ph type="body" sz="quarter" idx="110"/>
          </p:nvPr>
        </p:nvSpPr>
        <p:spPr>
          <a:xfrm>
            <a:off x="376237"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18" name="Text Placeholder 5"/>
          <p:cNvSpPr>
            <a:spLocks noGrp="1"/>
          </p:cNvSpPr>
          <p:nvPr>
            <p:ph type="body" sz="quarter" idx="112"/>
          </p:nvPr>
        </p:nvSpPr>
        <p:spPr>
          <a:xfrm>
            <a:off x="376238"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19" name="Text Placeholder 5"/>
          <p:cNvSpPr>
            <a:spLocks noGrp="1"/>
          </p:cNvSpPr>
          <p:nvPr>
            <p:ph type="body" sz="quarter" idx="113"/>
          </p:nvPr>
        </p:nvSpPr>
        <p:spPr>
          <a:xfrm>
            <a:off x="4202023" y="1864988"/>
            <a:ext cx="1280886" cy="394349"/>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20" name="Text Placeholder 5"/>
          <p:cNvSpPr>
            <a:spLocks noGrp="1"/>
          </p:cNvSpPr>
          <p:nvPr>
            <p:ph type="body" sz="quarter" idx="114"/>
          </p:nvPr>
        </p:nvSpPr>
        <p:spPr>
          <a:xfrm>
            <a:off x="4202023" y="2320545"/>
            <a:ext cx="1280886" cy="53484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21" name="Text Placeholder 5"/>
          <p:cNvSpPr>
            <a:spLocks noGrp="1"/>
          </p:cNvSpPr>
          <p:nvPr>
            <p:ph type="body" sz="quarter" idx="115"/>
          </p:nvPr>
        </p:nvSpPr>
        <p:spPr>
          <a:xfrm>
            <a:off x="6334021" y="3115159"/>
            <a:ext cx="2433741" cy="205824"/>
          </a:xfrm>
          <a:solidFill>
            <a:srgbClr val="E7E6E6"/>
          </a:solidFill>
        </p:spPr>
        <p:txBody>
          <a:bodyPr anchor="ctr"/>
          <a:lstStyle>
            <a:lvl1pPr algn="ctr">
              <a:spcAft>
                <a:spcPts val="0"/>
              </a:spcAft>
              <a:defRPr sz="900" cap="all" baseline="0"/>
            </a:lvl1pPr>
          </a:lstStyle>
          <a:p>
            <a:pPr lvl="0"/>
            <a:r>
              <a:rPr lang="en-US" smtClean="0"/>
              <a:t>Click to edit Master text styles</a:t>
            </a:r>
          </a:p>
        </p:txBody>
      </p:sp>
      <p:sp>
        <p:nvSpPr>
          <p:cNvPr id="22" name="Text Placeholder 5"/>
          <p:cNvSpPr>
            <a:spLocks noGrp="1"/>
          </p:cNvSpPr>
          <p:nvPr>
            <p:ph type="body" sz="quarter" idx="116"/>
          </p:nvPr>
        </p:nvSpPr>
        <p:spPr>
          <a:xfrm>
            <a:off x="6334022" y="3377323"/>
            <a:ext cx="739827" cy="318001"/>
          </a:xfrm>
          <a:noFill/>
        </p:spPr>
        <p:txBody>
          <a:bodyPr anchor="ctr"/>
          <a:lstStyle>
            <a:lvl1pPr algn="ctr">
              <a:defRPr sz="800"/>
            </a:lvl1pPr>
          </a:lstStyle>
          <a:p>
            <a:pPr lvl="0"/>
            <a:r>
              <a:rPr lang="en-US" smtClean="0"/>
              <a:t>Click to edit Master text styles</a:t>
            </a:r>
          </a:p>
        </p:txBody>
      </p:sp>
      <p:sp>
        <p:nvSpPr>
          <p:cNvPr id="28" name="Text Placeholder 5"/>
          <p:cNvSpPr>
            <a:spLocks noGrp="1"/>
          </p:cNvSpPr>
          <p:nvPr>
            <p:ph type="body" sz="quarter" idx="122"/>
          </p:nvPr>
        </p:nvSpPr>
        <p:spPr>
          <a:xfrm>
            <a:off x="1227349"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29" name="Text Placeholder 5"/>
          <p:cNvSpPr>
            <a:spLocks noGrp="1"/>
          </p:cNvSpPr>
          <p:nvPr>
            <p:ph type="body" sz="quarter" idx="123"/>
          </p:nvPr>
        </p:nvSpPr>
        <p:spPr>
          <a:xfrm>
            <a:off x="1224246"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30" name="Text Placeholder 5"/>
          <p:cNvSpPr>
            <a:spLocks noGrp="1"/>
          </p:cNvSpPr>
          <p:nvPr>
            <p:ph type="body" sz="quarter" idx="124"/>
          </p:nvPr>
        </p:nvSpPr>
        <p:spPr>
          <a:xfrm>
            <a:off x="2078461"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31" name="Text Placeholder 5"/>
          <p:cNvSpPr>
            <a:spLocks noGrp="1"/>
          </p:cNvSpPr>
          <p:nvPr>
            <p:ph type="body" sz="quarter" idx="125"/>
          </p:nvPr>
        </p:nvSpPr>
        <p:spPr>
          <a:xfrm>
            <a:off x="2083451"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32" name="Text Placeholder 5"/>
          <p:cNvSpPr>
            <a:spLocks noGrp="1"/>
          </p:cNvSpPr>
          <p:nvPr>
            <p:ph type="body" sz="quarter" idx="126"/>
          </p:nvPr>
        </p:nvSpPr>
        <p:spPr>
          <a:xfrm>
            <a:off x="2929573"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33" name="Text Placeholder 5"/>
          <p:cNvSpPr>
            <a:spLocks noGrp="1"/>
          </p:cNvSpPr>
          <p:nvPr>
            <p:ph type="body" sz="quarter" idx="127"/>
          </p:nvPr>
        </p:nvSpPr>
        <p:spPr>
          <a:xfrm>
            <a:off x="2926266"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34" name="Text Placeholder 5"/>
          <p:cNvSpPr>
            <a:spLocks noGrp="1"/>
          </p:cNvSpPr>
          <p:nvPr>
            <p:ph type="body" sz="quarter" idx="128"/>
          </p:nvPr>
        </p:nvSpPr>
        <p:spPr>
          <a:xfrm>
            <a:off x="3780685"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35" name="Text Placeholder 5"/>
          <p:cNvSpPr>
            <a:spLocks noGrp="1"/>
          </p:cNvSpPr>
          <p:nvPr>
            <p:ph type="body" sz="quarter" idx="129"/>
          </p:nvPr>
        </p:nvSpPr>
        <p:spPr>
          <a:xfrm>
            <a:off x="3780164"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36" name="Text Placeholder 5"/>
          <p:cNvSpPr>
            <a:spLocks noGrp="1"/>
          </p:cNvSpPr>
          <p:nvPr>
            <p:ph type="body" sz="quarter" idx="130"/>
          </p:nvPr>
        </p:nvSpPr>
        <p:spPr>
          <a:xfrm>
            <a:off x="4631797"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37" name="Text Placeholder 5"/>
          <p:cNvSpPr>
            <a:spLocks noGrp="1"/>
          </p:cNvSpPr>
          <p:nvPr>
            <p:ph type="body" sz="quarter" idx="131"/>
          </p:nvPr>
        </p:nvSpPr>
        <p:spPr>
          <a:xfrm>
            <a:off x="4631797"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38" name="Text Placeholder 5"/>
          <p:cNvSpPr>
            <a:spLocks noGrp="1"/>
          </p:cNvSpPr>
          <p:nvPr>
            <p:ph type="body" sz="quarter" idx="132"/>
          </p:nvPr>
        </p:nvSpPr>
        <p:spPr>
          <a:xfrm>
            <a:off x="5482909" y="3115159"/>
            <a:ext cx="731520" cy="495957"/>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39" name="Text Placeholder 5"/>
          <p:cNvSpPr>
            <a:spLocks noGrp="1"/>
          </p:cNvSpPr>
          <p:nvPr>
            <p:ph type="body" sz="quarter" idx="133"/>
          </p:nvPr>
        </p:nvSpPr>
        <p:spPr>
          <a:xfrm>
            <a:off x="5485523"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43" name="Picture Placeholder 67"/>
          <p:cNvSpPr>
            <a:spLocks noGrp="1" noChangeAspect="1"/>
          </p:cNvSpPr>
          <p:nvPr>
            <p:ph type="pic" sz="quarter" idx="134"/>
          </p:nvPr>
        </p:nvSpPr>
        <p:spPr>
          <a:xfrm>
            <a:off x="6332188"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44" name="Picture Placeholder 67"/>
          <p:cNvSpPr>
            <a:spLocks noGrp="1" noChangeAspect="1"/>
          </p:cNvSpPr>
          <p:nvPr>
            <p:ph type="pic" sz="quarter" idx="135"/>
          </p:nvPr>
        </p:nvSpPr>
        <p:spPr>
          <a:xfrm>
            <a:off x="7182157"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45" name="Picture Placeholder 67"/>
          <p:cNvSpPr>
            <a:spLocks noGrp="1" noChangeAspect="1"/>
          </p:cNvSpPr>
          <p:nvPr>
            <p:ph type="pic" sz="quarter" idx="136"/>
          </p:nvPr>
        </p:nvSpPr>
        <p:spPr>
          <a:xfrm>
            <a:off x="8032125" y="3695325"/>
            <a:ext cx="741661" cy="721691"/>
          </a:xfrm>
          <a:ln w="9525">
            <a:solidFill>
              <a:schemeClr val="accent6">
                <a:lumMod val="20000"/>
                <a:lumOff val="80000"/>
              </a:schemeClr>
            </a:solidFill>
          </a:ln>
        </p:spPr>
        <p:txBody>
          <a:bodyPr/>
          <a:lstStyle/>
          <a:p>
            <a:r>
              <a:rPr lang="en-US" smtClean="0"/>
              <a:t>Click icon to add picture</a:t>
            </a:r>
            <a:endParaRPr lang="en-US" dirty="0"/>
          </a:p>
        </p:txBody>
      </p:sp>
      <p:sp>
        <p:nvSpPr>
          <p:cNvPr id="46" name="Text Placeholder 5"/>
          <p:cNvSpPr>
            <a:spLocks noGrp="1"/>
          </p:cNvSpPr>
          <p:nvPr>
            <p:ph type="body" sz="quarter" idx="137"/>
          </p:nvPr>
        </p:nvSpPr>
        <p:spPr>
          <a:xfrm>
            <a:off x="6331427"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47" name="Text Placeholder 5"/>
          <p:cNvSpPr>
            <a:spLocks noGrp="1"/>
          </p:cNvSpPr>
          <p:nvPr>
            <p:ph type="body" sz="quarter" idx="138"/>
          </p:nvPr>
        </p:nvSpPr>
        <p:spPr>
          <a:xfrm>
            <a:off x="7177331"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48" name="Text Placeholder 5"/>
          <p:cNvSpPr>
            <a:spLocks noGrp="1"/>
          </p:cNvSpPr>
          <p:nvPr>
            <p:ph type="body" sz="quarter" idx="139"/>
          </p:nvPr>
        </p:nvSpPr>
        <p:spPr>
          <a:xfrm>
            <a:off x="8032125" y="4507494"/>
            <a:ext cx="743182" cy="4829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49" name="Text Placeholder 5"/>
          <p:cNvSpPr>
            <a:spLocks noGrp="1"/>
          </p:cNvSpPr>
          <p:nvPr>
            <p:ph type="body" sz="quarter" idx="140"/>
          </p:nvPr>
        </p:nvSpPr>
        <p:spPr>
          <a:xfrm>
            <a:off x="7195653" y="3377323"/>
            <a:ext cx="739827" cy="318001"/>
          </a:xfrm>
          <a:noFill/>
        </p:spPr>
        <p:txBody>
          <a:bodyPr anchor="ctr"/>
          <a:lstStyle>
            <a:lvl1pPr algn="ctr">
              <a:defRPr sz="800"/>
            </a:lvl1pPr>
          </a:lstStyle>
          <a:p>
            <a:pPr lvl="0"/>
            <a:r>
              <a:rPr lang="en-US" smtClean="0"/>
              <a:t>Click to edit Master text styles</a:t>
            </a:r>
          </a:p>
        </p:txBody>
      </p:sp>
      <p:sp>
        <p:nvSpPr>
          <p:cNvPr id="50" name="Text Placeholder 5"/>
          <p:cNvSpPr>
            <a:spLocks noGrp="1"/>
          </p:cNvSpPr>
          <p:nvPr>
            <p:ph type="body" sz="quarter" idx="141"/>
          </p:nvPr>
        </p:nvSpPr>
        <p:spPr>
          <a:xfrm>
            <a:off x="8026558" y="3377323"/>
            <a:ext cx="739827" cy="318001"/>
          </a:xfrm>
          <a:noFill/>
        </p:spPr>
        <p:txBody>
          <a:bodyPr anchor="ctr"/>
          <a:lstStyle>
            <a:lvl1pPr algn="ctr">
              <a:defRPr sz="800"/>
            </a:lvl1pPr>
          </a:lstStyle>
          <a:p>
            <a:pPr lvl="0"/>
            <a:r>
              <a:rPr lang="en-US" smtClean="0"/>
              <a:t>Click to edit Master text styles</a:t>
            </a:r>
          </a:p>
        </p:txBody>
      </p:sp>
      <p:sp>
        <p:nvSpPr>
          <p:cNvPr id="2" name="Footer Placeholder 1"/>
          <p:cNvSpPr>
            <a:spLocks noGrp="1"/>
          </p:cNvSpPr>
          <p:nvPr>
            <p:ph type="ftr" sz="quarter" idx="142"/>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43"/>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3233920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rg chart 2">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48" name="Text Placeholder 5"/>
          <p:cNvSpPr>
            <a:spLocks noGrp="1"/>
          </p:cNvSpPr>
          <p:nvPr>
            <p:ph type="body" sz="quarter" idx="115"/>
          </p:nvPr>
        </p:nvSpPr>
        <p:spPr>
          <a:xfrm>
            <a:off x="1645920" y="2816695"/>
            <a:ext cx="5852156" cy="295460"/>
          </a:xfrm>
          <a:solidFill>
            <a:srgbClr val="E7E6E6"/>
          </a:solidFill>
        </p:spPr>
        <p:txBody>
          <a:bodyPr anchor="ctr"/>
          <a:lstStyle>
            <a:lvl1pPr algn="ctr">
              <a:spcAft>
                <a:spcPts val="0"/>
              </a:spcAft>
              <a:defRPr sz="900" cap="all" baseline="0"/>
            </a:lvl1pPr>
          </a:lstStyle>
          <a:p>
            <a:pPr lvl="0"/>
            <a:r>
              <a:rPr lang="en-US" smtClean="0"/>
              <a:t>Click to edit Master text styles</a:t>
            </a:r>
          </a:p>
        </p:txBody>
      </p:sp>
      <p:sp>
        <p:nvSpPr>
          <p:cNvPr id="54" name="Text Placeholder 2"/>
          <p:cNvSpPr>
            <a:spLocks noGrp="1"/>
          </p:cNvSpPr>
          <p:nvPr>
            <p:ph type="body" sz="quarter" idx="121"/>
          </p:nvPr>
        </p:nvSpPr>
        <p:spPr>
          <a:xfrm>
            <a:off x="2834525" y="5043553"/>
            <a:ext cx="1097280" cy="1221003"/>
          </a:xfrm>
        </p:spPr>
        <p:txBody>
          <a:bodyPr/>
          <a:lstStyle>
            <a:lvl1pPr marL="171450" indent="-171450">
              <a:spcAft>
                <a:spcPts val="0"/>
              </a:spcAft>
              <a:buFont typeface="Arial" panose="020B0604020202020204" pitchFamily="34" charset="0"/>
              <a:buChar char="•"/>
              <a:defRPr sz="800"/>
            </a:lvl1pPr>
            <a:lvl2pPr marL="171450" indent="-171450">
              <a:spcAft>
                <a:spcPts val="0"/>
              </a:spcAft>
              <a:buFont typeface="Arial" panose="020B0604020202020204" pitchFamily="34" charset="0"/>
              <a:buChar char="•"/>
              <a:defRPr sz="800"/>
            </a:lvl2pPr>
            <a:lvl3pPr>
              <a:spcAft>
                <a:spcPts val="0"/>
              </a:spcAft>
              <a:defRPr sz="800"/>
            </a:lvl3pPr>
            <a:lvl4pPr>
              <a:spcAft>
                <a:spcPts val="0"/>
              </a:spcAft>
              <a:defRPr sz="800"/>
            </a:lvl4pPr>
            <a:lvl5pPr>
              <a:spcAft>
                <a:spcPts val="0"/>
              </a:spcAft>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5" name="Text Placeholder 2"/>
          <p:cNvSpPr>
            <a:spLocks noGrp="1"/>
          </p:cNvSpPr>
          <p:nvPr>
            <p:ph type="body" sz="quarter" idx="122"/>
          </p:nvPr>
        </p:nvSpPr>
        <p:spPr>
          <a:xfrm>
            <a:off x="1645920" y="5043553"/>
            <a:ext cx="1097280" cy="1221003"/>
          </a:xfrm>
        </p:spPr>
        <p:txBody>
          <a:bodyPr/>
          <a:lstStyle>
            <a:lvl1pPr marL="171450" indent="-171450">
              <a:spcAft>
                <a:spcPts val="0"/>
              </a:spcAft>
              <a:buFont typeface="Arial" panose="020B0604020202020204" pitchFamily="34" charset="0"/>
              <a:buChar char="•"/>
              <a:defRPr sz="800"/>
            </a:lvl1pPr>
            <a:lvl2pPr marL="171450" indent="-171450">
              <a:spcAft>
                <a:spcPts val="0"/>
              </a:spcAft>
              <a:buFont typeface="Arial" panose="020B0604020202020204" pitchFamily="34" charset="0"/>
              <a:buChar char="•"/>
              <a:defRPr sz="800"/>
            </a:lvl2pPr>
            <a:lvl3pPr>
              <a:spcAft>
                <a:spcPts val="0"/>
              </a:spcAft>
              <a:defRPr sz="800"/>
            </a:lvl3pPr>
            <a:lvl4pPr>
              <a:spcAft>
                <a:spcPts val="0"/>
              </a:spcAft>
              <a:defRPr sz="800"/>
            </a:lvl4pPr>
            <a:lvl5pPr>
              <a:spcAft>
                <a:spcPts val="0"/>
              </a:spcAft>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6" name="Text Placeholder 2"/>
          <p:cNvSpPr>
            <a:spLocks noGrp="1"/>
          </p:cNvSpPr>
          <p:nvPr>
            <p:ph type="body" sz="quarter" idx="123"/>
          </p:nvPr>
        </p:nvSpPr>
        <p:spPr>
          <a:xfrm>
            <a:off x="4023361" y="5043553"/>
            <a:ext cx="1097280" cy="1221003"/>
          </a:xfrm>
        </p:spPr>
        <p:txBody>
          <a:bodyPr/>
          <a:lstStyle>
            <a:lvl1pPr marL="171450" indent="-171450">
              <a:spcAft>
                <a:spcPts val="0"/>
              </a:spcAft>
              <a:buFont typeface="Arial" panose="020B0604020202020204" pitchFamily="34" charset="0"/>
              <a:buChar char="•"/>
              <a:defRPr sz="800"/>
            </a:lvl1pPr>
            <a:lvl2pPr marL="171450" indent="-171450">
              <a:spcAft>
                <a:spcPts val="0"/>
              </a:spcAft>
              <a:buFont typeface="Arial" panose="020B0604020202020204" pitchFamily="34" charset="0"/>
              <a:buChar char="•"/>
              <a:defRPr sz="800"/>
            </a:lvl2pPr>
            <a:lvl3pPr>
              <a:spcAft>
                <a:spcPts val="0"/>
              </a:spcAft>
              <a:defRPr sz="800"/>
            </a:lvl3pPr>
            <a:lvl4pPr>
              <a:spcAft>
                <a:spcPts val="0"/>
              </a:spcAft>
              <a:defRPr sz="800"/>
            </a:lvl4pPr>
            <a:lvl5pPr>
              <a:spcAft>
                <a:spcPts val="0"/>
              </a:spcAft>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Text Placeholder 2"/>
          <p:cNvSpPr>
            <a:spLocks noGrp="1"/>
          </p:cNvSpPr>
          <p:nvPr>
            <p:ph type="body" sz="quarter" idx="124"/>
          </p:nvPr>
        </p:nvSpPr>
        <p:spPr>
          <a:xfrm>
            <a:off x="5212079" y="5043553"/>
            <a:ext cx="1097280" cy="1221003"/>
          </a:xfrm>
        </p:spPr>
        <p:txBody>
          <a:bodyPr/>
          <a:lstStyle>
            <a:lvl1pPr marL="171450" indent="-171450">
              <a:spcAft>
                <a:spcPts val="0"/>
              </a:spcAft>
              <a:buFont typeface="Arial" panose="020B0604020202020204" pitchFamily="34" charset="0"/>
              <a:buChar char="•"/>
              <a:defRPr sz="800"/>
            </a:lvl1pPr>
            <a:lvl2pPr marL="171450" indent="-171450">
              <a:spcAft>
                <a:spcPts val="0"/>
              </a:spcAft>
              <a:buFont typeface="Arial" panose="020B0604020202020204" pitchFamily="34" charset="0"/>
              <a:buChar char="•"/>
              <a:defRPr sz="800"/>
            </a:lvl2pPr>
            <a:lvl3pPr>
              <a:spcAft>
                <a:spcPts val="0"/>
              </a:spcAft>
              <a:defRPr sz="800"/>
            </a:lvl3pPr>
            <a:lvl4pPr>
              <a:spcAft>
                <a:spcPts val="0"/>
              </a:spcAft>
              <a:defRPr sz="800"/>
            </a:lvl4pPr>
            <a:lvl5pPr>
              <a:spcAft>
                <a:spcPts val="0"/>
              </a:spcAft>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8" name="Text Placeholder 2"/>
          <p:cNvSpPr>
            <a:spLocks noGrp="1"/>
          </p:cNvSpPr>
          <p:nvPr>
            <p:ph type="body" sz="quarter" idx="125"/>
          </p:nvPr>
        </p:nvSpPr>
        <p:spPr>
          <a:xfrm>
            <a:off x="6400796" y="5043553"/>
            <a:ext cx="1097280" cy="1221003"/>
          </a:xfrm>
        </p:spPr>
        <p:txBody>
          <a:bodyPr/>
          <a:lstStyle>
            <a:lvl1pPr marL="171450" indent="-171450">
              <a:spcAft>
                <a:spcPts val="0"/>
              </a:spcAft>
              <a:buFont typeface="Arial" panose="020B0604020202020204" pitchFamily="34" charset="0"/>
              <a:buChar char="•"/>
              <a:defRPr sz="800"/>
            </a:lvl1pPr>
            <a:lvl2pPr marL="171450" indent="-171450">
              <a:spcAft>
                <a:spcPts val="0"/>
              </a:spcAft>
              <a:buFont typeface="Arial" panose="020B0604020202020204" pitchFamily="34" charset="0"/>
              <a:buChar char="•"/>
              <a:defRPr sz="800"/>
            </a:lvl2pPr>
            <a:lvl3pPr>
              <a:spcAft>
                <a:spcPts val="0"/>
              </a:spcAft>
              <a:defRPr sz="800"/>
            </a:lvl3pPr>
            <a:lvl4pPr>
              <a:spcAft>
                <a:spcPts val="0"/>
              </a:spcAft>
              <a:defRPr sz="800"/>
            </a:lvl4pPr>
            <a:lvl5pPr>
              <a:spcAft>
                <a:spcPts val="0"/>
              </a:spcAft>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4" name="Picture Placeholder 67"/>
          <p:cNvSpPr>
            <a:spLocks noGrp="1" noChangeAspect="1"/>
          </p:cNvSpPr>
          <p:nvPr>
            <p:ph type="pic" sz="quarter" idx="14"/>
          </p:nvPr>
        </p:nvSpPr>
        <p:spPr>
          <a:xfrm>
            <a:off x="3201495" y="1876985"/>
            <a:ext cx="978408" cy="819720"/>
          </a:xfrm>
          <a:ln>
            <a:solidFill>
              <a:schemeClr val="accent6">
                <a:lumMod val="20000"/>
                <a:lumOff val="80000"/>
              </a:schemeClr>
            </a:solidFill>
          </a:ln>
        </p:spPr>
        <p:txBody>
          <a:bodyPr/>
          <a:lstStyle/>
          <a:p>
            <a:r>
              <a:rPr lang="en-US" smtClean="0"/>
              <a:t>Click icon to add picture</a:t>
            </a:r>
            <a:endParaRPr lang="en-US" dirty="0"/>
          </a:p>
        </p:txBody>
      </p:sp>
      <p:sp>
        <p:nvSpPr>
          <p:cNvPr id="75" name="Picture Placeholder 67"/>
          <p:cNvSpPr>
            <a:spLocks noGrp="1" noChangeAspect="1"/>
          </p:cNvSpPr>
          <p:nvPr>
            <p:ph type="pic" sz="quarter" idx="54"/>
          </p:nvPr>
        </p:nvSpPr>
        <p:spPr>
          <a:xfrm>
            <a:off x="1649366" y="3632787"/>
            <a:ext cx="1093834" cy="721691"/>
          </a:xfrm>
          <a:ln w="9525">
            <a:solidFill>
              <a:schemeClr val="accent6">
                <a:lumMod val="20000"/>
                <a:lumOff val="80000"/>
              </a:schemeClr>
            </a:solidFill>
          </a:ln>
        </p:spPr>
        <p:txBody>
          <a:bodyPr/>
          <a:lstStyle/>
          <a:p>
            <a:r>
              <a:rPr lang="en-US" smtClean="0"/>
              <a:t>Click icon to add picture</a:t>
            </a:r>
            <a:endParaRPr lang="en-US" dirty="0"/>
          </a:p>
        </p:txBody>
      </p:sp>
      <p:sp>
        <p:nvSpPr>
          <p:cNvPr id="76" name="Picture Placeholder 67"/>
          <p:cNvSpPr>
            <a:spLocks noGrp="1" noChangeAspect="1"/>
          </p:cNvSpPr>
          <p:nvPr>
            <p:ph type="pic" sz="quarter" idx="57"/>
          </p:nvPr>
        </p:nvSpPr>
        <p:spPr>
          <a:xfrm>
            <a:off x="2834525" y="3632787"/>
            <a:ext cx="1097280" cy="747955"/>
          </a:xfrm>
          <a:ln w="9525">
            <a:solidFill>
              <a:schemeClr val="accent6">
                <a:lumMod val="20000"/>
                <a:lumOff val="80000"/>
              </a:schemeClr>
            </a:solidFill>
          </a:ln>
        </p:spPr>
        <p:txBody>
          <a:bodyPr/>
          <a:lstStyle/>
          <a:p>
            <a:r>
              <a:rPr lang="en-US" smtClean="0"/>
              <a:t>Click icon to add picture</a:t>
            </a:r>
            <a:endParaRPr lang="en-US" dirty="0"/>
          </a:p>
        </p:txBody>
      </p:sp>
      <p:sp>
        <p:nvSpPr>
          <p:cNvPr id="77" name="Picture Placeholder 67"/>
          <p:cNvSpPr>
            <a:spLocks noGrp="1" noChangeAspect="1"/>
          </p:cNvSpPr>
          <p:nvPr>
            <p:ph type="pic" sz="quarter" idx="60"/>
          </p:nvPr>
        </p:nvSpPr>
        <p:spPr>
          <a:xfrm>
            <a:off x="4023360" y="3632787"/>
            <a:ext cx="1097280" cy="721691"/>
          </a:xfrm>
          <a:ln w="9525">
            <a:solidFill>
              <a:schemeClr val="accent6">
                <a:lumMod val="20000"/>
                <a:lumOff val="80000"/>
              </a:schemeClr>
            </a:solidFill>
          </a:ln>
        </p:spPr>
        <p:txBody>
          <a:bodyPr/>
          <a:lstStyle/>
          <a:p>
            <a:r>
              <a:rPr lang="en-US" smtClean="0"/>
              <a:t>Click icon to add picture</a:t>
            </a:r>
            <a:endParaRPr lang="en-US" dirty="0"/>
          </a:p>
        </p:txBody>
      </p:sp>
      <p:sp>
        <p:nvSpPr>
          <p:cNvPr id="78" name="Picture Placeholder 67"/>
          <p:cNvSpPr>
            <a:spLocks noGrp="1" noChangeAspect="1"/>
          </p:cNvSpPr>
          <p:nvPr>
            <p:ph type="pic" sz="quarter" idx="63"/>
          </p:nvPr>
        </p:nvSpPr>
        <p:spPr>
          <a:xfrm>
            <a:off x="5212080" y="3632787"/>
            <a:ext cx="1097394" cy="721691"/>
          </a:xfrm>
          <a:ln w="9525">
            <a:solidFill>
              <a:schemeClr val="accent6">
                <a:lumMod val="20000"/>
                <a:lumOff val="80000"/>
              </a:schemeClr>
            </a:solidFill>
          </a:ln>
        </p:spPr>
        <p:txBody>
          <a:bodyPr/>
          <a:lstStyle/>
          <a:p>
            <a:r>
              <a:rPr lang="en-US" smtClean="0"/>
              <a:t>Click icon to add picture</a:t>
            </a:r>
            <a:endParaRPr lang="en-US" dirty="0"/>
          </a:p>
        </p:txBody>
      </p:sp>
      <p:sp>
        <p:nvSpPr>
          <p:cNvPr id="79" name="Picture Placeholder 67"/>
          <p:cNvSpPr>
            <a:spLocks noGrp="1" noChangeAspect="1"/>
          </p:cNvSpPr>
          <p:nvPr>
            <p:ph type="pic" sz="quarter" idx="66"/>
          </p:nvPr>
        </p:nvSpPr>
        <p:spPr>
          <a:xfrm>
            <a:off x="6400800" y="3632787"/>
            <a:ext cx="1100893" cy="721691"/>
          </a:xfrm>
          <a:ln w="9525">
            <a:solidFill>
              <a:schemeClr val="accent6">
                <a:lumMod val="20000"/>
                <a:lumOff val="80000"/>
              </a:schemeClr>
            </a:solidFill>
          </a:ln>
        </p:spPr>
        <p:txBody>
          <a:bodyPr/>
          <a:lstStyle/>
          <a:p>
            <a:r>
              <a:rPr lang="en-US" smtClean="0"/>
              <a:t>Click icon to add picture</a:t>
            </a:r>
            <a:endParaRPr lang="en-US" dirty="0"/>
          </a:p>
        </p:txBody>
      </p:sp>
      <p:sp>
        <p:nvSpPr>
          <p:cNvPr id="80" name="Text Placeholder 5"/>
          <p:cNvSpPr>
            <a:spLocks noGrp="1"/>
          </p:cNvSpPr>
          <p:nvPr>
            <p:ph type="body" sz="quarter" idx="113"/>
          </p:nvPr>
        </p:nvSpPr>
        <p:spPr>
          <a:xfrm>
            <a:off x="4255626" y="1876985"/>
            <a:ext cx="1130035" cy="351744"/>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81" name="Text Placeholder 5"/>
          <p:cNvSpPr>
            <a:spLocks noGrp="1"/>
          </p:cNvSpPr>
          <p:nvPr>
            <p:ph type="body" sz="quarter" idx="114"/>
          </p:nvPr>
        </p:nvSpPr>
        <p:spPr>
          <a:xfrm>
            <a:off x="4255626" y="2320545"/>
            <a:ext cx="1130035" cy="376160"/>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82" name="Text Placeholder 5"/>
          <p:cNvSpPr>
            <a:spLocks noGrp="1"/>
          </p:cNvSpPr>
          <p:nvPr>
            <p:ph type="body" sz="quarter" idx="126"/>
          </p:nvPr>
        </p:nvSpPr>
        <p:spPr>
          <a:xfrm>
            <a:off x="1645920" y="3230898"/>
            <a:ext cx="1097280" cy="310072"/>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83" name="Text Placeholder 5"/>
          <p:cNvSpPr>
            <a:spLocks noGrp="1"/>
          </p:cNvSpPr>
          <p:nvPr>
            <p:ph type="body" sz="quarter" idx="127"/>
          </p:nvPr>
        </p:nvSpPr>
        <p:spPr>
          <a:xfrm>
            <a:off x="1645920" y="4446295"/>
            <a:ext cx="1097280" cy="47726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84" name="Text Placeholder 5"/>
          <p:cNvSpPr>
            <a:spLocks noGrp="1"/>
          </p:cNvSpPr>
          <p:nvPr>
            <p:ph type="body" sz="quarter" idx="128"/>
          </p:nvPr>
        </p:nvSpPr>
        <p:spPr>
          <a:xfrm>
            <a:off x="2834640" y="3230898"/>
            <a:ext cx="1097280" cy="310072"/>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85" name="Text Placeholder 5"/>
          <p:cNvSpPr>
            <a:spLocks noGrp="1"/>
          </p:cNvSpPr>
          <p:nvPr>
            <p:ph type="body" sz="quarter" idx="129"/>
          </p:nvPr>
        </p:nvSpPr>
        <p:spPr>
          <a:xfrm>
            <a:off x="2834526" y="4446295"/>
            <a:ext cx="1097280" cy="47726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86" name="Text Placeholder 5"/>
          <p:cNvSpPr>
            <a:spLocks noGrp="1"/>
          </p:cNvSpPr>
          <p:nvPr>
            <p:ph type="body" sz="quarter" idx="130"/>
          </p:nvPr>
        </p:nvSpPr>
        <p:spPr>
          <a:xfrm>
            <a:off x="4023360" y="3230898"/>
            <a:ext cx="1097280" cy="310072"/>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87" name="Text Placeholder 5"/>
          <p:cNvSpPr>
            <a:spLocks noGrp="1"/>
          </p:cNvSpPr>
          <p:nvPr>
            <p:ph type="body" sz="quarter" idx="131"/>
          </p:nvPr>
        </p:nvSpPr>
        <p:spPr>
          <a:xfrm>
            <a:off x="4023360" y="4446295"/>
            <a:ext cx="1097279" cy="47726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88" name="Text Placeholder 5"/>
          <p:cNvSpPr>
            <a:spLocks noGrp="1"/>
          </p:cNvSpPr>
          <p:nvPr>
            <p:ph type="body" sz="quarter" idx="132"/>
          </p:nvPr>
        </p:nvSpPr>
        <p:spPr>
          <a:xfrm>
            <a:off x="5212080" y="3230898"/>
            <a:ext cx="1097280" cy="310072"/>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89" name="Text Placeholder 5"/>
          <p:cNvSpPr>
            <a:spLocks noGrp="1"/>
          </p:cNvSpPr>
          <p:nvPr>
            <p:ph type="body" sz="quarter" idx="133"/>
          </p:nvPr>
        </p:nvSpPr>
        <p:spPr>
          <a:xfrm>
            <a:off x="5212080" y="4446295"/>
            <a:ext cx="1097279" cy="47726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90" name="Text Placeholder 5"/>
          <p:cNvSpPr>
            <a:spLocks noGrp="1"/>
          </p:cNvSpPr>
          <p:nvPr>
            <p:ph type="body" sz="quarter" idx="134"/>
          </p:nvPr>
        </p:nvSpPr>
        <p:spPr>
          <a:xfrm>
            <a:off x="6400800" y="3230898"/>
            <a:ext cx="1097280" cy="310072"/>
          </a:xfrm>
          <a:solidFill>
            <a:srgbClr val="E7E6E6"/>
          </a:solidFill>
        </p:spPr>
        <p:txBody>
          <a:bodyPr anchor="ctr"/>
          <a:lstStyle>
            <a:lvl1pPr algn="ctr">
              <a:spcAft>
                <a:spcPts val="0"/>
              </a:spcAft>
              <a:defRPr sz="900"/>
            </a:lvl1pPr>
          </a:lstStyle>
          <a:p>
            <a:pPr lvl="0"/>
            <a:r>
              <a:rPr lang="en-US" smtClean="0"/>
              <a:t>Click to edit Master text styles</a:t>
            </a:r>
          </a:p>
        </p:txBody>
      </p:sp>
      <p:sp>
        <p:nvSpPr>
          <p:cNvPr id="91" name="Text Placeholder 5"/>
          <p:cNvSpPr>
            <a:spLocks noGrp="1"/>
          </p:cNvSpPr>
          <p:nvPr>
            <p:ph type="body" sz="quarter" idx="135"/>
          </p:nvPr>
        </p:nvSpPr>
        <p:spPr>
          <a:xfrm>
            <a:off x="6400800" y="4446295"/>
            <a:ext cx="1097280" cy="477268"/>
          </a:xfrm>
          <a:solidFill>
            <a:schemeClr val="accent5"/>
          </a:solidFill>
        </p:spPr>
        <p:txBody>
          <a:bodyPr lIns="45720" tIns="18288" rIns="45720" bIns="18288" anchor="ctr"/>
          <a:lstStyle>
            <a:lvl1pPr algn="l">
              <a:spcAft>
                <a:spcPts val="0"/>
              </a:spcAft>
              <a:defRPr sz="900">
                <a:solidFill>
                  <a:schemeClr val="bg1"/>
                </a:solidFill>
              </a:defRPr>
            </a:lvl1pPr>
          </a:lstStyle>
          <a:p>
            <a:pPr lvl="0"/>
            <a:r>
              <a:rPr lang="en-US" smtClean="0"/>
              <a:t>Click to edit Master text styles</a:t>
            </a:r>
          </a:p>
        </p:txBody>
      </p:sp>
      <p:sp>
        <p:nvSpPr>
          <p:cNvPr id="2" name="Footer Placeholder 1"/>
          <p:cNvSpPr>
            <a:spLocks noGrp="1"/>
          </p:cNvSpPr>
          <p:nvPr>
            <p:ph type="ftr" sz="quarter" idx="136"/>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37"/>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41149549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 with photos 2x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22"/>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10" name="Slide Number Placeholder 9"/>
          <p:cNvSpPr>
            <a:spLocks noGrp="1"/>
          </p:cNvSpPr>
          <p:nvPr>
            <p:ph type="sldNum" sz="quarter" idx="23"/>
          </p:nvPr>
        </p:nvSpPr>
        <p:spPr/>
        <p:txBody>
          <a:bodyPr/>
          <a:lstStyle/>
          <a:p>
            <a:fld id="{C58DF478-B544-4ED8-9ED4-6A2648E2D233}" type="slidenum">
              <a:rPr lang="en-US" smtClean="0">
                <a:solidFill>
                  <a:schemeClr val="tx1"/>
                </a:solidFill>
              </a:rPr>
              <a:pPr/>
              <a:t>‹#›</a:t>
            </a:fld>
            <a:endParaRPr lang="en-US"/>
          </a:p>
        </p:txBody>
      </p:sp>
      <p:sp>
        <p:nvSpPr>
          <p:cNvPr id="12" name="Text Placeholder 8"/>
          <p:cNvSpPr>
            <a:spLocks noGrp="1"/>
          </p:cNvSpPr>
          <p:nvPr>
            <p:ph type="body" sz="quarter" idx="17"/>
          </p:nvPr>
        </p:nvSpPr>
        <p:spPr>
          <a:xfrm>
            <a:off x="378000" y="1857892"/>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p:nvPr>
        </p:nvSpPr>
        <p:spPr>
          <a:xfrm>
            <a:off x="4684645" y="1857892"/>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Picture Placeholder 18"/>
          <p:cNvSpPr>
            <a:spLocks noGrp="1"/>
          </p:cNvSpPr>
          <p:nvPr>
            <p:ph type="pic" sz="quarter" idx="28"/>
          </p:nvPr>
        </p:nvSpPr>
        <p:spPr>
          <a:xfrm>
            <a:off x="2978392" y="1857375"/>
            <a:ext cx="1482725" cy="1690688"/>
          </a:xfrm>
        </p:spPr>
        <p:txBody>
          <a:bodyPr/>
          <a:lstStyle/>
          <a:p>
            <a:r>
              <a:rPr lang="en-US" smtClean="0"/>
              <a:t>Click icon to add picture</a:t>
            </a:r>
            <a:endParaRPr lang="en-US"/>
          </a:p>
        </p:txBody>
      </p:sp>
      <p:sp>
        <p:nvSpPr>
          <p:cNvPr id="15" name="Picture Placeholder 18"/>
          <p:cNvSpPr>
            <a:spLocks noGrp="1"/>
          </p:cNvSpPr>
          <p:nvPr>
            <p:ph type="pic" sz="quarter" idx="29"/>
          </p:nvPr>
        </p:nvSpPr>
        <p:spPr>
          <a:xfrm>
            <a:off x="7285037" y="1857375"/>
            <a:ext cx="1482725" cy="1690688"/>
          </a:xfrm>
        </p:spPr>
        <p:txBody>
          <a:bodyPr/>
          <a:lstStyle/>
          <a:p>
            <a:r>
              <a:rPr lang="en-US" smtClean="0"/>
              <a:t>Click icon to add picture</a:t>
            </a:r>
            <a:endParaRPr lang="en-US"/>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verview with photo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5" y="1857892"/>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26"/>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6" name="Slide Number Placeholder 5"/>
          <p:cNvSpPr>
            <a:spLocks noGrp="1"/>
          </p:cNvSpPr>
          <p:nvPr>
            <p:ph type="sldNum" sz="quarter" idx="27"/>
          </p:nvPr>
        </p:nvSpPr>
        <p:spPr/>
        <p:txBody>
          <a:bodyPr/>
          <a:lstStyle/>
          <a:p>
            <a:fld id="{C58DF478-B544-4ED8-9ED4-6A2648E2D233}" type="slidenum">
              <a:rPr lang="en-US" smtClean="0">
                <a:solidFill>
                  <a:schemeClr val="tx1"/>
                </a:solidFill>
              </a:rPr>
              <a:pPr/>
              <a:t>‹#›</a:t>
            </a:fld>
            <a:endParaRPr lang="en-US"/>
          </a:p>
        </p:txBody>
      </p:sp>
      <p:sp>
        <p:nvSpPr>
          <p:cNvPr id="19" name="Picture Placeholder 18"/>
          <p:cNvSpPr>
            <a:spLocks noGrp="1"/>
          </p:cNvSpPr>
          <p:nvPr>
            <p:ph type="pic" sz="quarter" idx="28"/>
          </p:nvPr>
        </p:nvSpPr>
        <p:spPr>
          <a:xfrm>
            <a:off x="2978392" y="1857375"/>
            <a:ext cx="1482725" cy="1690688"/>
          </a:xfrm>
        </p:spPr>
        <p:txBody>
          <a:bodyPr/>
          <a:lstStyle/>
          <a:p>
            <a:r>
              <a:rPr lang="en-US" smtClean="0"/>
              <a:t>Click icon to add picture</a:t>
            </a:r>
            <a:endParaRPr lang="en-US"/>
          </a:p>
        </p:txBody>
      </p:sp>
      <p:sp>
        <p:nvSpPr>
          <p:cNvPr id="20" name="Picture Placeholder 18"/>
          <p:cNvSpPr>
            <a:spLocks noGrp="1"/>
          </p:cNvSpPr>
          <p:nvPr>
            <p:ph type="pic" sz="quarter" idx="29"/>
          </p:nvPr>
        </p:nvSpPr>
        <p:spPr>
          <a:xfrm>
            <a:off x="7285037" y="1857375"/>
            <a:ext cx="1482725" cy="1690688"/>
          </a:xfrm>
        </p:spPr>
        <p:txBody>
          <a:bodyPr/>
          <a:lstStyle/>
          <a:p>
            <a:r>
              <a:rPr lang="en-US" smtClean="0"/>
              <a:t>Click icon to add picture</a:t>
            </a:r>
            <a:endParaRPr lang="en-US"/>
          </a:p>
        </p:txBody>
      </p:sp>
      <p:sp>
        <p:nvSpPr>
          <p:cNvPr id="21" name="Text Placeholder 8"/>
          <p:cNvSpPr>
            <a:spLocks noGrp="1"/>
          </p:cNvSpPr>
          <p:nvPr>
            <p:ph type="body" sz="quarter" idx="30"/>
          </p:nvPr>
        </p:nvSpPr>
        <p:spPr>
          <a:xfrm>
            <a:off x="378000" y="4162425"/>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2" name="Text Placeholder 8"/>
          <p:cNvSpPr>
            <a:spLocks noGrp="1"/>
          </p:cNvSpPr>
          <p:nvPr>
            <p:ph type="body" sz="quarter" idx="31"/>
          </p:nvPr>
        </p:nvSpPr>
        <p:spPr>
          <a:xfrm>
            <a:off x="4684645" y="4162425"/>
            <a:ext cx="246888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3" name="Picture Placeholder 18"/>
          <p:cNvSpPr>
            <a:spLocks noGrp="1"/>
          </p:cNvSpPr>
          <p:nvPr>
            <p:ph type="pic" sz="quarter" idx="32"/>
          </p:nvPr>
        </p:nvSpPr>
        <p:spPr>
          <a:xfrm>
            <a:off x="2978392" y="4161908"/>
            <a:ext cx="1482725" cy="1690688"/>
          </a:xfrm>
        </p:spPr>
        <p:txBody>
          <a:bodyPr/>
          <a:lstStyle/>
          <a:p>
            <a:r>
              <a:rPr lang="en-US" smtClean="0"/>
              <a:t>Click icon to add picture</a:t>
            </a:r>
            <a:endParaRPr lang="en-US"/>
          </a:p>
        </p:txBody>
      </p:sp>
      <p:sp>
        <p:nvSpPr>
          <p:cNvPr id="24" name="Picture Placeholder 18"/>
          <p:cNvSpPr>
            <a:spLocks noGrp="1"/>
          </p:cNvSpPr>
          <p:nvPr>
            <p:ph type="pic" sz="quarter" idx="33"/>
          </p:nvPr>
        </p:nvSpPr>
        <p:spPr>
          <a:xfrm>
            <a:off x="7285037" y="4161908"/>
            <a:ext cx="1482725" cy="1690688"/>
          </a:xfrm>
        </p:spPr>
        <p:txBody>
          <a:bodyPr/>
          <a:lstStyle/>
          <a:p>
            <a:r>
              <a:rPr lang="en-US" smtClean="0"/>
              <a:t>Click icon to add picture</a:t>
            </a:r>
            <a:endParaRPr lang="en-US"/>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20"/>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11" name="Slide Number Placeholder 10"/>
          <p:cNvSpPr>
            <a:spLocks noGrp="1"/>
          </p:cNvSpPr>
          <p:nvPr>
            <p:ph type="sldNum" sz="quarter" idx="21"/>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3" name="Footer Placeholder 2"/>
          <p:cNvSpPr>
            <a:spLocks noGrp="1"/>
          </p:cNvSpPr>
          <p:nvPr>
            <p:ph type="ftr" sz="quarter" idx="21"/>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9" name="Slide Number Placeholder 8"/>
          <p:cNvSpPr>
            <a:spLocks noGrp="1"/>
          </p:cNvSpPr>
          <p:nvPr>
            <p:ph type="sldNum" sz="quarter" idx="22"/>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3" name="Footer Placeholder 2"/>
          <p:cNvSpPr>
            <a:spLocks noGrp="1"/>
          </p:cNvSpPr>
          <p:nvPr>
            <p:ph type="ftr" sz="quarter" idx="21"/>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9" name="Slide Number Placeholder 8"/>
          <p:cNvSpPr>
            <a:spLocks noGrp="1"/>
          </p:cNvSpPr>
          <p:nvPr>
            <p:ph type="sldNum" sz="quarter" idx="22"/>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Footer Placeholder 1"/>
          <p:cNvSpPr>
            <a:spLocks noGrp="1"/>
          </p:cNvSpPr>
          <p:nvPr>
            <p:ph type="ftr" sz="quarter" idx="14"/>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5"/>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3" name="Footer Placeholder 2"/>
          <p:cNvSpPr>
            <a:spLocks noGrp="1"/>
          </p:cNvSpPr>
          <p:nvPr>
            <p:ph type="ftr" sz="quarter" idx="10"/>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4" name="Slide Number Placeholder 3"/>
          <p:cNvSpPr>
            <a:spLocks noGrp="1"/>
          </p:cNvSpPr>
          <p:nvPr>
            <p:ph type="sldNum" sz="quarter" idx="11"/>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defTabSz="1219170">
              <a:spcBef>
                <a:spcPts val="800"/>
              </a:spcBef>
              <a:buSzPct val="100000"/>
            </a:pPr>
            <a:r>
              <a:rPr lang="fr-FR" sz="650" smtClean="0">
                <a:solidFill>
                  <a:prstClr val="black"/>
                </a:solidFill>
              </a:rPr>
              <a:t>© 2016. For information, contact Deloitte Touche Tohmatsu Limited. </a:t>
            </a:r>
            <a:endParaRPr lang="fr-FR" sz="650" dirty="0" smtClean="0">
              <a:solidFill>
                <a:prstClr val="black"/>
              </a:solidFill>
            </a:endParaRPr>
          </a:p>
        </p:txBody>
      </p:sp>
      <p:sp>
        <p:nvSpPr>
          <p:cNvPr id="3" name="Slide Number Placeholder 2"/>
          <p:cNvSpPr>
            <a:spLocks noGrp="1"/>
          </p:cNvSpPr>
          <p:nvPr>
            <p:ph type="sldNum" sz="quarter" idx="11"/>
          </p:nvPr>
        </p:nvSpPr>
        <p:spPr/>
        <p:txBody>
          <a:bodyPr/>
          <a:lstStyle/>
          <a:p>
            <a:fld id="{C58DF478-B544-4ED8-9ED4-6A2648E2D233}" type="slidenum">
              <a:rPr lang="en-US" smtClean="0">
                <a:solidFill>
                  <a:schemeClr val="tx1"/>
                </a:solidFill>
              </a:rPr>
              <a:pPr/>
              <a:t>‹#›</a:t>
            </a:fld>
            <a:endParaRPr lang="en-US"/>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8" y="4211955"/>
            <a:ext cx="8332755" cy="2169796"/>
          </a:xfrm>
        </p:spPr>
        <p:txBody>
          <a:bodyPr anchor="b" anchorCtr="0"/>
          <a:lstStyle>
            <a:lvl1pPr>
              <a:lnSpc>
                <a:spcPct val="100000"/>
              </a:lnSpc>
              <a:spcAft>
                <a:spcPts val="600"/>
              </a:spcAft>
              <a:defRPr sz="900">
                <a:solidFill>
                  <a:schemeClr val="bg1"/>
                </a:solidFill>
              </a:defRPr>
            </a:lvl1pPr>
          </a:lstStyle>
          <a:p>
            <a:pPr lvl="0"/>
            <a:r>
              <a:rPr lang="en-US" noProof="0" smtClean="0"/>
              <a:t>Click to edit Master text styles</a:t>
            </a:r>
          </a:p>
        </p:txBody>
      </p:sp>
      <p:grpSp>
        <p:nvGrpSpPr>
          <p:cNvPr id="9" name="Group 8"/>
          <p:cNvGrpSpPr/>
          <p:nvPr userDrawn="1"/>
        </p:nvGrpSpPr>
        <p:grpSpPr>
          <a:xfrm>
            <a:off x="377991" y="3831413"/>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0078506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5288" y="4211957"/>
            <a:ext cx="6377653" cy="2169796"/>
          </a:xfrm>
        </p:spPr>
        <p:txBody>
          <a:bodyPr anchor="b" anchorCtr="0"/>
          <a:lstStyle>
            <a:lvl1pPr>
              <a:lnSpc>
                <a:spcPct val="100000"/>
              </a:lnSpc>
              <a:spcAft>
                <a:spcPts val="451"/>
              </a:spcAft>
              <a:defRPr sz="675"/>
            </a:lvl1pPr>
          </a:lstStyle>
          <a:p>
            <a:pPr lvl="0"/>
            <a:r>
              <a:rPr lang="en-US" smtClean="0"/>
              <a:t>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4813"/>
            <a:ext cx="1674000" cy="313155"/>
          </a:xfrm>
          <a:prstGeom prst="rect">
            <a:avLst/>
          </a:prstGeom>
        </p:spPr>
      </p:pic>
      <p:sp>
        <p:nvSpPr>
          <p:cNvPr id="3" name="Picture Placeholder 2"/>
          <p:cNvSpPr>
            <a:spLocks noGrp="1"/>
          </p:cNvSpPr>
          <p:nvPr>
            <p:ph type="pic" sz="quarter" idx="14" hasCustomPrompt="1"/>
          </p:nvPr>
        </p:nvSpPr>
        <p:spPr>
          <a:xfrm>
            <a:off x="7028136" y="4535904"/>
            <a:ext cx="1509640" cy="1401499"/>
          </a:xfrm>
        </p:spPr>
        <p:txBody>
          <a:bodyPr anchor="ctr" anchorCtr="0"/>
          <a:lstStyle>
            <a:lvl1pPr algn="ctr">
              <a:defRPr sz="675"/>
            </a:lvl1pPr>
          </a:lstStyle>
          <a:p>
            <a:r>
              <a:rPr lang="en-GB" sz="675" dirty="0" smtClean="0"/>
              <a:t>Insert sponsorship mark here</a:t>
            </a:r>
            <a:endParaRPr lang="en-GB" dirty="0"/>
          </a:p>
        </p:txBody>
      </p:sp>
      <p:sp>
        <p:nvSpPr>
          <p:cNvPr id="8" name="Text Placeholder 7"/>
          <p:cNvSpPr>
            <a:spLocks noGrp="1"/>
          </p:cNvSpPr>
          <p:nvPr>
            <p:ph type="body" sz="quarter" idx="15"/>
          </p:nvPr>
        </p:nvSpPr>
        <p:spPr>
          <a:xfrm>
            <a:off x="7028139" y="6018028"/>
            <a:ext cx="1509639" cy="363723"/>
          </a:xfrm>
        </p:spPr>
        <p:txBody>
          <a:bodyPr anchor="b" anchorCtr="0"/>
          <a:lstStyle>
            <a:lvl1pPr>
              <a:lnSpc>
                <a:spcPct val="100000"/>
              </a:lnSpc>
              <a:defRPr sz="713"/>
            </a:lvl1pPr>
          </a:lstStyle>
          <a:p>
            <a:pPr lvl="0"/>
            <a:r>
              <a:rPr lang="en-US" smtClean="0"/>
              <a:t>Edit Master text styles</a:t>
            </a:r>
          </a:p>
        </p:txBody>
      </p:sp>
    </p:spTree>
    <p:extLst>
      <p:ext uri="{BB962C8B-B14F-4D97-AF65-F5344CB8AC3E}">
        <p14:creationId xmlns:p14="http://schemas.microsoft.com/office/powerpoint/2010/main" val="298591588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6" name="Footer Placeholder 5"/>
          <p:cNvSpPr>
            <a:spLocks noGrp="1"/>
          </p:cNvSpPr>
          <p:nvPr>
            <p:ph type="ftr" sz="quarter" idx="10"/>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pPr algn="l" defTabSz="1219170">
              <a:spcBef>
                <a:spcPts val="800"/>
              </a:spcBef>
              <a:buSzPct val="100000"/>
            </a:pPr>
            <a:r>
              <a:rPr lang="fr-FR" sz="650" smtClean="0"/>
              <a:t>© 2016. For information, contact Deloitte Touche Tohmatsu Limited. </a:t>
            </a:r>
            <a:endParaRPr lang="fr-FR" sz="650" dirty="0" smtClean="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C58DF478-B544-4ED8-9ED4-6A2648E2D233}" type="slidenum">
              <a:rPr lang="en-US" smtClean="0"/>
              <a:pPr/>
              <a:t>‹#›</a:t>
            </a:fld>
            <a:endParaRPr lang="en-US"/>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1"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40159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Footer Placeholder 4"/>
          <p:cNvSpPr>
            <a:spLocks noGrp="1"/>
          </p:cNvSpPr>
          <p:nvPr>
            <p:ph type="ftr" sz="quarter" idx="3"/>
          </p:nvPr>
        </p:nvSpPr>
        <p:spPr>
          <a:xfrm>
            <a:off x="376237" y="6477000"/>
            <a:ext cx="3017520" cy="100027"/>
          </a:xfrm>
          <a:prstGeom prst="rect">
            <a:avLst/>
          </a:prstGeom>
        </p:spPr>
        <p:txBody>
          <a:bodyPr vert="horz" lIns="0" tIns="45720" rIns="91440" bIns="45720" rtlCol="0" anchor="ctr"/>
          <a:lstStyle>
            <a:lvl1pPr algn="ctr">
              <a:defRPr sz="1200">
                <a:solidFill>
                  <a:schemeClr val="tx1"/>
                </a:solidFill>
              </a:defRPr>
            </a:lvl1pPr>
          </a:lstStyle>
          <a:p>
            <a:pPr algn="l" defTabSz="1219170">
              <a:spcBef>
                <a:spcPts val="800"/>
              </a:spcBef>
              <a:buSzPct val="100000"/>
            </a:pPr>
            <a:r>
              <a:rPr lang="fr-FR" sz="650" dirty="0" smtClean="0"/>
              <a:t>© 2016. For information, contact Deloitte Touche Tohmatsu Limited. </a:t>
            </a:r>
          </a:p>
        </p:txBody>
      </p:sp>
      <p:sp>
        <p:nvSpPr>
          <p:cNvPr id="6" name="Slide Number Placeholder 5"/>
          <p:cNvSpPr>
            <a:spLocks noGrp="1"/>
          </p:cNvSpPr>
          <p:nvPr>
            <p:ph type="sldNum" sz="quarter" idx="4"/>
          </p:nvPr>
        </p:nvSpPr>
        <p:spPr>
          <a:xfrm>
            <a:off x="8493442" y="6477000"/>
            <a:ext cx="274320" cy="100027"/>
          </a:xfrm>
          <a:prstGeom prst="rect">
            <a:avLst/>
          </a:prstGeom>
        </p:spPr>
        <p:txBody>
          <a:bodyPr vert="horz" lIns="91440" tIns="45720" rIns="0" bIns="45720" rtlCol="0" anchor="ctr"/>
          <a:lstStyle>
            <a:lvl1pPr algn="r">
              <a:defRPr sz="650">
                <a:solidFill>
                  <a:schemeClr val="tx1"/>
                </a:solidFill>
              </a:defRPr>
            </a:lvl1pPr>
          </a:lstStyle>
          <a:p>
            <a:fld id="{C58DF478-B544-4ED8-9ED4-6A2648E2D233}"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758" r:id="rId18"/>
    <p:sldLayoutId id="2147483678" r:id="rId19"/>
    <p:sldLayoutId id="2147483681" r:id="rId20"/>
    <p:sldLayoutId id="2147483699" r:id="rId21"/>
    <p:sldLayoutId id="2147483714" r:id="rId22"/>
    <p:sldLayoutId id="2147483697" r:id="rId23"/>
    <p:sldLayoutId id="2147483716" r:id="rId24"/>
    <p:sldLayoutId id="2147483717" r:id="rId25"/>
    <p:sldLayoutId id="2147483718" r:id="rId26"/>
    <p:sldLayoutId id="2147483728" r:id="rId27"/>
    <p:sldLayoutId id="2147483720" r:id="rId28"/>
    <p:sldLayoutId id="2147483721" r:id="rId29"/>
    <p:sldLayoutId id="2147483722" r:id="rId30"/>
    <p:sldLayoutId id="2147483695" r:id="rId31"/>
    <p:sldLayoutId id="2147483759" r:id="rId32"/>
    <p:sldLayoutId id="2147483760"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7" r:id="rId42"/>
    <p:sldLayoutId id="2147483762" r:id="rId43"/>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377991" y="5549440"/>
            <a:ext cx="4194009" cy="324000"/>
          </a:xfrm>
        </p:spPr>
        <p:txBody>
          <a:bodyPr/>
          <a:lstStyle/>
          <a:p>
            <a:r>
              <a:rPr lang="en-US" noProof="0" dirty="0"/>
              <a:t>Headline Verdana Bold</a:t>
            </a:r>
          </a:p>
        </p:txBody>
      </p:sp>
      <p:sp>
        <p:nvSpPr>
          <p:cNvPr id="4" name="Subtitle 3"/>
          <p:cNvSpPr>
            <a:spLocks noGrp="1"/>
          </p:cNvSpPr>
          <p:nvPr>
            <p:ph type="subTitle" idx="1"/>
          </p:nvPr>
        </p:nvSpPr>
        <p:spPr>
          <a:xfrm>
            <a:off x="377992" y="5864229"/>
            <a:ext cx="4765508" cy="505645"/>
          </a:xfrm>
        </p:spPr>
        <p:txBody>
          <a:bodyPr/>
          <a:lstStyle/>
          <a:p>
            <a:r>
              <a:rPr lang="en-GB" dirty="0"/>
              <a:t>ValueD FY17 </a:t>
            </a:r>
            <a:r>
              <a:rPr lang="en-GB" dirty="0" smtClean="0"/>
              <a:t>Roadmap</a:t>
            </a:r>
            <a:endParaRPr lang="en-GB" dirty="0"/>
          </a:p>
        </p:txBody>
      </p:sp>
      <p:sp>
        <p:nvSpPr>
          <p:cNvPr id="5" name="Text Placeholder 4"/>
          <p:cNvSpPr>
            <a:spLocks noGrp="1"/>
          </p:cNvSpPr>
          <p:nvPr>
            <p:ph type="body" sz="quarter" idx="10"/>
          </p:nvPr>
        </p:nvSpPr>
        <p:spPr/>
        <p:txBody>
          <a:bodyPr/>
          <a:lstStyle/>
          <a:p>
            <a:r>
              <a:rPr lang="en-US" dirty="0"/>
              <a:t>June 2016</a:t>
            </a:r>
          </a:p>
        </p:txBody>
      </p:sp>
      <p:pic>
        <p:nvPicPr>
          <p:cNvPr id="9" name="Picture Placeholder 8"/>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p:cNvSpPr txBox="1">
            <a:spLocks/>
          </p:cNvSpPr>
          <p:nvPr/>
        </p:nvSpPr>
        <p:spPr>
          <a:xfrm>
            <a:off x="5978998" y="4805876"/>
            <a:ext cx="594066" cy="189000"/>
          </a:xfrm>
          <a:prstGeom prst="rect">
            <a:avLst/>
          </a:prstGeom>
        </p:spPr>
        <p:txBody>
          <a:bodyPr vert="horz" lIns="0" tIns="0" rIns="0" bIns="0" rtlCol="0" anchor="ctr" anchorCtr="0"/>
          <a:lstStyle>
            <a:defPPr>
              <a:defRPr lang="en-US"/>
            </a:defPPr>
            <a:lvl1pPr marL="0" algn="r" defTabSz="687446" rtl="0" eaLnBrk="1" latinLnBrk="0" hangingPunct="1">
              <a:defRPr sz="450" b="0" kern="1200">
                <a:solidFill>
                  <a:srgbClr val="8C8C8C"/>
                </a:solidFill>
                <a:latin typeface="+mn-lt"/>
                <a:ea typeface="+mn-ea"/>
                <a:cs typeface="+mn-cs"/>
              </a:defRPr>
            </a:lvl1pPr>
            <a:lvl2pPr marL="343723" algn="l" defTabSz="687446" rtl="0" eaLnBrk="1" latinLnBrk="0" hangingPunct="1">
              <a:defRPr sz="1400" kern="1200">
                <a:solidFill>
                  <a:schemeClr val="tx1"/>
                </a:solidFill>
                <a:latin typeface="+mn-lt"/>
                <a:ea typeface="+mn-ea"/>
                <a:cs typeface="+mn-cs"/>
              </a:defRPr>
            </a:lvl2pPr>
            <a:lvl3pPr marL="687446" algn="l" defTabSz="687446" rtl="0" eaLnBrk="1" latinLnBrk="0" hangingPunct="1">
              <a:defRPr sz="1400" kern="1200">
                <a:solidFill>
                  <a:schemeClr val="tx1"/>
                </a:solidFill>
                <a:latin typeface="+mn-lt"/>
                <a:ea typeface="+mn-ea"/>
                <a:cs typeface="+mn-cs"/>
              </a:defRPr>
            </a:lvl3pPr>
            <a:lvl4pPr marL="1031169" algn="l" defTabSz="687446" rtl="0" eaLnBrk="1" latinLnBrk="0" hangingPunct="1">
              <a:defRPr sz="1400" kern="1200">
                <a:solidFill>
                  <a:schemeClr val="tx1"/>
                </a:solidFill>
                <a:latin typeface="+mn-lt"/>
                <a:ea typeface="+mn-ea"/>
                <a:cs typeface="+mn-cs"/>
              </a:defRPr>
            </a:lvl4pPr>
            <a:lvl5pPr marL="1374892" algn="l" defTabSz="687446" rtl="0" eaLnBrk="1" latinLnBrk="0" hangingPunct="1">
              <a:defRPr sz="1400" kern="1200">
                <a:solidFill>
                  <a:schemeClr val="tx1"/>
                </a:solidFill>
                <a:latin typeface="+mn-lt"/>
                <a:ea typeface="+mn-ea"/>
                <a:cs typeface="+mn-cs"/>
              </a:defRPr>
            </a:lvl5pPr>
            <a:lvl6pPr marL="1718615" algn="l" defTabSz="687446" rtl="0" eaLnBrk="1" latinLnBrk="0" hangingPunct="1">
              <a:defRPr sz="1400" kern="1200">
                <a:solidFill>
                  <a:schemeClr val="tx1"/>
                </a:solidFill>
                <a:latin typeface="+mn-lt"/>
                <a:ea typeface="+mn-ea"/>
                <a:cs typeface="+mn-cs"/>
              </a:defRPr>
            </a:lvl6pPr>
            <a:lvl7pPr marL="2062338" algn="l" defTabSz="687446" rtl="0" eaLnBrk="1" latinLnBrk="0" hangingPunct="1">
              <a:defRPr sz="1400" kern="1200">
                <a:solidFill>
                  <a:schemeClr val="tx1"/>
                </a:solidFill>
                <a:latin typeface="+mn-lt"/>
                <a:ea typeface="+mn-ea"/>
                <a:cs typeface="+mn-cs"/>
              </a:defRPr>
            </a:lvl7pPr>
            <a:lvl8pPr marL="2406061" algn="l" defTabSz="687446" rtl="0" eaLnBrk="1" latinLnBrk="0" hangingPunct="1">
              <a:defRPr sz="1400" kern="1200">
                <a:solidFill>
                  <a:schemeClr val="tx1"/>
                </a:solidFill>
                <a:latin typeface="+mn-lt"/>
                <a:ea typeface="+mn-ea"/>
                <a:cs typeface="+mn-cs"/>
              </a:defRPr>
            </a:lvl8pPr>
            <a:lvl9pPr marL="2749784" algn="l" defTabSz="687446" rtl="0" eaLnBrk="1" latinLnBrk="0" hangingPunct="1">
              <a:defRPr sz="1400" kern="1200">
                <a:solidFill>
                  <a:schemeClr val="tx1"/>
                </a:solidFill>
                <a:latin typeface="+mn-lt"/>
                <a:ea typeface="+mn-ea"/>
                <a:cs typeface="+mn-cs"/>
              </a:defRPr>
            </a:lvl9pPr>
          </a:lstStyle>
          <a:p>
            <a:fld id="{95CC1D26-A9BD-4BDE-BDD9-08EDBAE96860}" type="slidenum">
              <a:rPr lang="en-GB" smtClean="0">
                <a:latin typeface="Arial"/>
              </a:rPr>
              <a:pPr/>
              <a:t>2</a:t>
            </a:fld>
            <a:endParaRPr lang="en-GB" dirty="0">
              <a:latin typeface="Arial"/>
            </a:endParaRPr>
          </a:p>
        </p:txBody>
      </p:sp>
      <p:sp>
        <p:nvSpPr>
          <p:cNvPr id="9" name="Title 14"/>
          <p:cNvSpPr txBox="1">
            <a:spLocks/>
          </p:cNvSpPr>
          <p:nvPr/>
        </p:nvSpPr>
        <p:spPr bwMode="gray">
          <a:xfrm>
            <a:off x="396000" y="295683"/>
            <a:ext cx="8352000" cy="46949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smtClean="0">
                <a:ln>
                  <a:noFill/>
                </a:ln>
                <a:solidFill>
                  <a:sysClr val="windowText" lastClr="000000"/>
                </a:solidFill>
                <a:effectLst/>
                <a:uLnTx/>
                <a:uFillTx/>
                <a:ea typeface="+mj-ea"/>
                <a:cs typeface="+mj-cs"/>
              </a:rPr>
              <a:t>FY17 Roadmap</a:t>
            </a:r>
            <a:endParaRPr kumimoji="0" lang="en-US" sz="2000" b="0" i="0" u="none" strike="noStrike" kern="1200" cap="none" spc="0" normalizeH="0" baseline="0" noProof="0" dirty="0">
              <a:ln>
                <a:noFill/>
              </a:ln>
              <a:solidFill>
                <a:sysClr val="windowText" lastClr="000000"/>
              </a:solidFill>
              <a:effectLst/>
              <a:uLnTx/>
              <a:uFillTx/>
              <a:ea typeface="+mj-ea"/>
              <a:cs typeface="+mj-cs"/>
            </a:endParaRPr>
          </a:p>
        </p:txBody>
      </p:sp>
      <p:grpSp>
        <p:nvGrpSpPr>
          <p:cNvPr id="73" name="Group 72"/>
          <p:cNvGrpSpPr/>
          <p:nvPr/>
        </p:nvGrpSpPr>
        <p:grpSpPr>
          <a:xfrm>
            <a:off x="6205650" y="5647580"/>
            <a:ext cx="2579257" cy="950938"/>
            <a:chOff x="316288" y="2835779"/>
            <a:chExt cx="5783689" cy="2132371"/>
          </a:xfrm>
        </p:grpSpPr>
        <p:grpSp>
          <p:nvGrpSpPr>
            <p:cNvPr id="74" name="Group 73"/>
            <p:cNvGrpSpPr/>
            <p:nvPr/>
          </p:nvGrpSpPr>
          <p:grpSpPr>
            <a:xfrm>
              <a:off x="2627573" y="4096397"/>
              <a:ext cx="3472404" cy="577822"/>
              <a:chOff x="2627573" y="4096397"/>
              <a:chExt cx="3472404" cy="577822"/>
            </a:xfrm>
          </p:grpSpPr>
          <p:sp>
            <p:nvSpPr>
              <p:cNvPr id="89" name="Freeform 802"/>
              <p:cNvSpPr>
                <a:spLocks/>
              </p:cNvSpPr>
              <p:nvPr/>
            </p:nvSpPr>
            <p:spPr bwMode="auto">
              <a:xfrm>
                <a:off x="2636701" y="4109177"/>
                <a:ext cx="182566" cy="182566"/>
              </a:xfrm>
              <a:custGeom>
                <a:avLst/>
                <a:gdLst>
                  <a:gd name="T0" fmla="*/ 59 w 132"/>
                  <a:gd name="T1" fmla="*/ 132 h 132"/>
                  <a:gd name="T2" fmla="*/ 14 w 132"/>
                  <a:gd name="T3" fmla="*/ 15 h 132"/>
                  <a:gd name="T4" fmla="*/ 13 w 132"/>
                  <a:gd name="T5" fmla="*/ 15 h 132"/>
                  <a:gd name="T6" fmla="*/ 14 w 132"/>
                  <a:gd name="T7" fmla="*/ 48 h 132"/>
                  <a:gd name="T8" fmla="*/ 14 w 132"/>
                  <a:gd name="T9" fmla="*/ 132 h 132"/>
                  <a:gd name="T10" fmla="*/ 0 w 132"/>
                  <a:gd name="T11" fmla="*/ 132 h 132"/>
                  <a:gd name="T12" fmla="*/ 0 w 132"/>
                  <a:gd name="T13" fmla="*/ 0 h 132"/>
                  <a:gd name="T14" fmla="*/ 23 w 132"/>
                  <a:gd name="T15" fmla="*/ 0 h 132"/>
                  <a:gd name="T16" fmla="*/ 66 w 132"/>
                  <a:gd name="T17" fmla="*/ 109 h 132"/>
                  <a:gd name="T18" fmla="*/ 66 w 132"/>
                  <a:gd name="T19" fmla="*/ 109 h 132"/>
                  <a:gd name="T20" fmla="*/ 109 w 132"/>
                  <a:gd name="T21" fmla="*/ 0 h 132"/>
                  <a:gd name="T22" fmla="*/ 132 w 132"/>
                  <a:gd name="T23" fmla="*/ 0 h 132"/>
                  <a:gd name="T24" fmla="*/ 132 w 132"/>
                  <a:gd name="T25" fmla="*/ 132 h 132"/>
                  <a:gd name="T26" fmla="*/ 116 w 132"/>
                  <a:gd name="T27" fmla="*/ 132 h 132"/>
                  <a:gd name="T28" fmla="*/ 116 w 132"/>
                  <a:gd name="T29" fmla="*/ 47 h 132"/>
                  <a:gd name="T30" fmla="*/ 118 w 132"/>
                  <a:gd name="T31" fmla="*/ 15 h 132"/>
                  <a:gd name="T32" fmla="*/ 117 w 132"/>
                  <a:gd name="T33" fmla="*/ 15 h 132"/>
                  <a:gd name="T34" fmla="*/ 71 w 132"/>
                  <a:gd name="T35" fmla="*/ 132 h 132"/>
                  <a:gd name="T36" fmla="*/ 59 w 132"/>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32">
                    <a:moveTo>
                      <a:pt x="59" y="132"/>
                    </a:moveTo>
                    <a:cubicBezTo>
                      <a:pt x="14" y="15"/>
                      <a:pt x="14" y="15"/>
                      <a:pt x="14" y="15"/>
                    </a:cubicBezTo>
                    <a:cubicBezTo>
                      <a:pt x="13" y="15"/>
                      <a:pt x="13" y="15"/>
                      <a:pt x="13" y="15"/>
                    </a:cubicBezTo>
                    <a:cubicBezTo>
                      <a:pt x="14" y="24"/>
                      <a:pt x="14" y="35"/>
                      <a:pt x="14" y="48"/>
                    </a:cubicBezTo>
                    <a:cubicBezTo>
                      <a:pt x="14" y="132"/>
                      <a:pt x="14" y="132"/>
                      <a:pt x="14" y="132"/>
                    </a:cubicBezTo>
                    <a:cubicBezTo>
                      <a:pt x="0" y="132"/>
                      <a:pt x="0" y="132"/>
                      <a:pt x="0" y="132"/>
                    </a:cubicBezTo>
                    <a:cubicBezTo>
                      <a:pt x="0" y="0"/>
                      <a:pt x="0" y="0"/>
                      <a:pt x="0" y="0"/>
                    </a:cubicBezTo>
                    <a:cubicBezTo>
                      <a:pt x="23" y="0"/>
                      <a:pt x="23" y="0"/>
                      <a:pt x="23" y="0"/>
                    </a:cubicBezTo>
                    <a:cubicBezTo>
                      <a:pt x="66" y="109"/>
                      <a:pt x="66" y="109"/>
                      <a:pt x="66" y="109"/>
                    </a:cubicBezTo>
                    <a:cubicBezTo>
                      <a:pt x="66" y="109"/>
                      <a:pt x="66" y="109"/>
                      <a:pt x="66" y="109"/>
                    </a:cubicBezTo>
                    <a:cubicBezTo>
                      <a:pt x="109" y="0"/>
                      <a:pt x="109" y="0"/>
                      <a:pt x="109" y="0"/>
                    </a:cubicBezTo>
                    <a:cubicBezTo>
                      <a:pt x="132" y="0"/>
                      <a:pt x="132" y="0"/>
                      <a:pt x="132" y="0"/>
                    </a:cubicBezTo>
                    <a:cubicBezTo>
                      <a:pt x="132" y="132"/>
                      <a:pt x="132" y="132"/>
                      <a:pt x="132" y="132"/>
                    </a:cubicBezTo>
                    <a:cubicBezTo>
                      <a:pt x="116" y="132"/>
                      <a:pt x="116" y="132"/>
                      <a:pt x="116" y="132"/>
                    </a:cubicBezTo>
                    <a:cubicBezTo>
                      <a:pt x="116" y="47"/>
                      <a:pt x="116" y="47"/>
                      <a:pt x="116" y="47"/>
                    </a:cubicBezTo>
                    <a:cubicBezTo>
                      <a:pt x="116" y="37"/>
                      <a:pt x="117" y="26"/>
                      <a:pt x="118" y="15"/>
                    </a:cubicBezTo>
                    <a:cubicBezTo>
                      <a:pt x="117" y="15"/>
                      <a:pt x="117" y="15"/>
                      <a:pt x="117" y="15"/>
                    </a:cubicBezTo>
                    <a:cubicBezTo>
                      <a:pt x="71" y="132"/>
                      <a:pt x="71" y="132"/>
                      <a:pt x="71" y="132"/>
                    </a:cubicBezTo>
                    <a:lnTo>
                      <a:pt x="59"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03"/>
              <p:cNvSpPr>
                <a:spLocks noEditPoints="1"/>
              </p:cNvSpPr>
              <p:nvPr/>
            </p:nvSpPr>
            <p:spPr bwMode="auto">
              <a:xfrm>
                <a:off x="2850303" y="4152080"/>
                <a:ext cx="110452" cy="142401"/>
              </a:xfrm>
              <a:custGeom>
                <a:avLst/>
                <a:gdLst>
                  <a:gd name="T0" fmla="*/ 68 w 80"/>
                  <a:gd name="T1" fmla="*/ 101 h 103"/>
                  <a:gd name="T2" fmla="*/ 65 w 80"/>
                  <a:gd name="T3" fmla="*/ 87 h 103"/>
                  <a:gd name="T4" fmla="*/ 65 w 80"/>
                  <a:gd name="T5" fmla="*/ 87 h 103"/>
                  <a:gd name="T6" fmla="*/ 50 w 80"/>
                  <a:gd name="T7" fmla="*/ 100 h 103"/>
                  <a:gd name="T8" fmla="*/ 31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8 w 80"/>
                  <a:gd name="T39" fmla="*/ 101 h 103"/>
                  <a:gd name="T40" fmla="*/ 34 w 80"/>
                  <a:gd name="T41" fmla="*/ 91 h 103"/>
                  <a:gd name="T42" fmla="*/ 56 w 80"/>
                  <a:gd name="T43" fmla="*/ 83 h 103"/>
                  <a:gd name="T44" fmla="*/ 64 w 80"/>
                  <a:gd name="T45" fmla="*/ 62 h 103"/>
                  <a:gd name="T46" fmla="*/ 64 w 80"/>
                  <a:gd name="T47" fmla="*/ 53 h 103"/>
                  <a:gd name="T48" fmla="*/ 49 w 80"/>
                  <a:gd name="T49" fmla="*/ 53 h 103"/>
                  <a:gd name="T50" fmla="*/ 23 w 80"/>
                  <a:gd name="T51" fmla="*/ 59 h 103"/>
                  <a:gd name="T52" fmla="*/ 16 w 80"/>
                  <a:gd name="T53" fmla="*/ 74 h 103"/>
                  <a:gd name="T54" fmla="*/ 20 w 80"/>
                  <a:gd name="T55" fmla="*/ 87 h 103"/>
                  <a:gd name="T56" fmla="*/ 34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8" y="101"/>
                    </a:moveTo>
                    <a:cubicBezTo>
                      <a:pt x="65" y="87"/>
                      <a:pt x="65" y="87"/>
                      <a:pt x="65" y="87"/>
                    </a:cubicBezTo>
                    <a:cubicBezTo>
                      <a:pt x="65" y="87"/>
                      <a:pt x="65" y="87"/>
                      <a:pt x="65" y="87"/>
                    </a:cubicBezTo>
                    <a:cubicBezTo>
                      <a:pt x="60" y="94"/>
                      <a:pt x="55" y="98"/>
                      <a:pt x="50" y="100"/>
                    </a:cubicBezTo>
                    <a:cubicBezTo>
                      <a:pt x="45" y="102"/>
                      <a:pt x="39" y="103"/>
                      <a:pt x="31" y="103"/>
                    </a:cubicBezTo>
                    <a:cubicBezTo>
                      <a:pt x="21"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6" y="15"/>
                      <a:pt x="51" y="13"/>
                      <a:pt x="44" y="13"/>
                    </a:cubicBezTo>
                    <a:cubicBezTo>
                      <a:pt x="35" y="13"/>
                      <a:pt x="26" y="15"/>
                      <a:pt x="16" y="20"/>
                    </a:cubicBezTo>
                    <a:cubicBezTo>
                      <a:pt x="11" y="9"/>
                      <a:pt x="11" y="9"/>
                      <a:pt x="11" y="9"/>
                    </a:cubicBezTo>
                    <a:cubicBezTo>
                      <a:pt x="16" y="6"/>
                      <a:pt x="21" y="4"/>
                      <a:pt x="27" y="3"/>
                    </a:cubicBezTo>
                    <a:cubicBezTo>
                      <a:pt x="33" y="1"/>
                      <a:pt x="39" y="0"/>
                      <a:pt x="45" y="0"/>
                    </a:cubicBezTo>
                    <a:cubicBezTo>
                      <a:pt x="56" y="0"/>
                      <a:pt x="65" y="3"/>
                      <a:pt x="71" y="8"/>
                    </a:cubicBezTo>
                    <a:cubicBezTo>
                      <a:pt x="77" y="13"/>
                      <a:pt x="80" y="22"/>
                      <a:pt x="80" y="34"/>
                    </a:cubicBezTo>
                    <a:cubicBezTo>
                      <a:pt x="80" y="101"/>
                      <a:pt x="80" y="101"/>
                      <a:pt x="80" y="101"/>
                    </a:cubicBezTo>
                    <a:lnTo>
                      <a:pt x="68" y="101"/>
                    </a:lnTo>
                    <a:close/>
                    <a:moveTo>
                      <a:pt x="34" y="91"/>
                    </a:moveTo>
                    <a:cubicBezTo>
                      <a:pt x="44" y="91"/>
                      <a:pt x="51" y="88"/>
                      <a:pt x="56" y="83"/>
                    </a:cubicBezTo>
                    <a:cubicBezTo>
                      <a:pt x="62" y="78"/>
                      <a:pt x="64" y="71"/>
                      <a:pt x="64" y="62"/>
                    </a:cubicBezTo>
                    <a:cubicBezTo>
                      <a:pt x="64" y="53"/>
                      <a:pt x="64" y="53"/>
                      <a:pt x="64" y="53"/>
                    </a:cubicBezTo>
                    <a:cubicBezTo>
                      <a:pt x="49" y="53"/>
                      <a:pt x="49" y="53"/>
                      <a:pt x="49" y="53"/>
                    </a:cubicBezTo>
                    <a:cubicBezTo>
                      <a:pt x="37" y="54"/>
                      <a:pt x="29" y="55"/>
                      <a:pt x="23" y="59"/>
                    </a:cubicBezTo>
                    <a:cubicBezTo>
                      <a:pt x="18" y="62"/>
                      <a:pt x="16" y="67"/>
                      <a:pt x="16" y="74"/>
                    </a:cubicBezTo>
                    <a:cubicBezTo>
                      <a:pt x="16" y="80"/>
                      <a:pt x="17" y="84"/>
                      <a:pt x="20" y="87"/>
                    </a:cubicBezTo>
                    <a:cubicBezTo>
                      <a:pt x="24" y="89"/>
                      <a:pt x="28"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04"/>
              <p:cNvSpPr>
                <a:spLocks/>
              </p:cNvSpPr>
              <p:nvPr/>
            </p:nvSpPr>
            <p:spPr bwMode="auto">
              <a:xfrm>
                <a:off x="2996356" y="4096397"/>
                <a:ext cx="111365" cy="195346"/>
              </a:xfrm>
              <a:custGeom>
                <a:avLst/>
                <a:gdLst>
                  <a:gd name="T0" fmla="*/ 15 w 80"/>
                  <a:gd name="T1" fmla="*/ 91 h 141"/>
                  <a:gd name="T2" fmla="*/ 27 w 80"/>
                  <a:gd name="T3" fmla="*/ 76 h 141"/>
                  <a:gd name="T4" fmla="*/ 59 w 80"/>
                  <a:gd name="T5" fmla="*/ 42 h 141"/>
                  <a:gd name="T6" fmla="*/ 77 w 80"/>
                  <a:gd name="T7" fmla="*/ 42 h 141"/>
                  <a:gd name="T8" fmla="*/ 36 w 80"/>
                  <a:gd name="T9" fmla="*/ 84 h 141"/>
                  <a:gd name="T10" fmla="*/ 80 w 80"/>
                  <a:gd name="T11" fmla="*/ 141 h 141"/>
                  <a:gd name="T12" fmla="*/ 61 w 80"/>
                  <a:gd name="T13" fmla="*/ 141 h 141"/>
                  <a:gd name="T14" fmla="*/ 26 w 80"/>
                  <a:gd name="T15" fmla="*/ 94 h 141"/>
                  <a:gd name="T16" fmla="*/ 15 w 80"/>
                  <a:gd name="T17" fmla="*/ 104 h 141"/>
                  <a:gd name="T18" fmla="*/ 15 w 80"/>
                  <a:gd name="T19" fmla="*/ 141 h 141"/>
                  <a:gd name="T20" fmla="*/ 0 w 80"/>
                  <a:gd name="T21" fmla="*/ 141 h 141"/>
                  <a:gd name="T22" fmla="*/ 0 w 80"/>
                  <a:gd name="T23" fmla="*/ 0 h 141"/>
                  <a:gd name="T24" fmla="*/ 15 w 80"/>
                  <a:gd name="T25" fmla="*/ 0 h 141"/>
                  <a:gd name="T26" fmla="*/ 15 w 80"/>
                  <a:gd name="T27" fmla="*/ 75 h 141"/>
                  <a:gd name="T28" fmla="*/ 14 w 80"/>
                  <a:gd name="T29" fmla="*/ 91 h 141"/>
                  <a:gd name="T30" fmla="*/ 15 w 80"/>
                  <a:gd name="T31"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1">
                    <a:moveTo>
                      <a:pt x="15" y="91"/>
                    </a:moveTo>
                    <a:cubicBezTo>
                      <a:pt x="17" y="87"/>
                      <a:pt x="21" y="82"/>
                      <a:pt x="27" y="76"/>
                    </a:cubicBezTo>
                    <a:cubicBezTo>
                      <a:pt x="59" y="42"/>
                      <a:pt x="59" y="42"/>
                      <a:pt x="59" y="42"/>
                    </a:cubicBezTo>
                    <a:cubicBezTo>
                      <a:pt x="77" y="42"/>
                      <a:pt x="77" y="42"/>
                      <a:pt x="77" y="42"/>
                    </a:cubicBezTo>
                    <a:cubicBezTo>
                      <a:pt x="36" y="84"/>
                      <a:pt x="36" y="84"/>
                      <a:pt x="36" y="84"/>
                    </a:cubicBezTo>
                    <a:cubicBezTo>
                      <a:pt x="80" y="141"/>
                      <a:pt x="80" y="141"/>
                      <a:pt x="80" y="141"/>
                    </a:cubicBezTo>
                    <a:cubicBezTo>
                      <a:pt x="61" y="141"/>
                      <a:pt x="61" y="141"/>
                      <a:pt x="61" y="141"/>
                    </a:cubicBezTo>
                    <a:cubicBezTo>
                      <a:pt x="26" y="94"/>
                      <a:pt x="26" y="94"/>
                      <a:pt x="26" y="94"/>
                    </a:cubicBezTo>
                    <a:cubicBezTo>
                      <a:pt x="15" y="104"/>
                      <a:pt x="15" y="104"/>
                      <a:pt x="15" y="104"/>
                    </a:cubicBezTo>
                    <a:cubicBezTo>
                      <a:pt x="15" y="141"/>
                      <a:pt x="15" y="141"/>
                      <a:pt x="15" y="141"/>
                    </a:cubicBezTo>
                    <a:cubicBezTo>
                      <a:pt x="0" y="141"/>
                      <a:pt x="0" y="141"/>
                      <a:pt x="0" y="141"/>
                    </a:cubicBezTo>
                    <a:cubicBezTo>
                      <a:pt x="0" y="0"/>
                      <a:pt x="0" y="0"/>
                      <a:pt x="0" y="0"/>
                    </a:cubicBezTo>
                    <a:cubicBezTo>
                      <a:pt x="15" y="0"/>
                      <a:pt x="15" y="0"/>
                      <a:pt x="15" y="0"/>
                    </a:cubicBezTo>
                    <a:cubicBezTo>
                      <a:pt x="15" y="75"/>
                      <a:pt x="15" y="75"/>
                      <a:pt x="15" y="75"/>
                    </a:cubicBezTo>
                    <a:cubicBezTo>
                      <a:pt x="15" y="78"/>
                      <a:pt x="15" y="84"/>
                      <a:pt x="14" y="91"/>
                    </a:cubicBezTo>
                    <a:lnTo>
                      <a:pt x="15"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05"/>
              <p:cNvSpPr>
                <a:spLocks noEditPoints="1"/>
              </p:cNvSpPr>
              <p:nvPr/>
            </p:nvSpPr>
            <p:spPr bwMode="auto">
              <a:xfrm>
                <a:off x="3124152" y="4103700"/>
                <a:ext cx="23734" cy="188043"/>
              </a:xfrm>
              <a:custGeom>
                <a:avLst/>
                <a:gdLst>
                  <a:gd name="T0" fmla="*/ 0 w 17"/>
                  <a:gd name="T1" fmla="*/ 10 h 136"/>
                  <a:gd name="T2" fmla="*/ 2 w 17"/>
                  <a:gd name="T3" fmla="*/ 2 h 136"/>
                  <a:gd name="T4" fmla="*/ 8 w 17"/>
                  <a:gd name="T5" fmla="*/ 0 h 136"/>
                  <a:gd name="T6" fmla="*/ 15 w 17"/>
                  <a:gd name="T7" fmla="*/ 2 h 136"/>
                  <a:gd name="T8" fmla="*/ 17 w 17"/>
                  <a:gd name="T9" fmla="*/ 10 h 136"/>
                  <a:gd name="T10" fmla="*/ 15 w 17"/>
                  <a:gd name="T11" fmla="*/ 18 h 136"/>
                  <a:gd name="T12" fmla="*/ 8 w 17"/>
                  <a:gd name="T13" fmla="*/ 20 h 136"/>
                  <a:gd name="T14" fmla="*/ 2 w 17"/>
                  <a:gd name="T15" fmla="*/ 18 h 136"/>
                  <a:gd name="T16" fmla="*/ 0 w 17"/>
                  <a:gd name="T17" fmla="*/ 10 h 136"/>
                  <a:gd name="T18" fmla="*/ 16 w 17"/>
                  <a:gd name="T19" fmla="*/ 136 h 136"/>
                  <a:gd name="T20" fmla="*/ 1 w 17"/>
                  <a:gd name="T21" fmla="*/ 136 h 136"/>
                  <a:gd name="T22" fmla="*/ 1 w 17"/>
                  <a:gd name="T23" fmla="*/ 37 h 136"/>
                  <a:gd name="T24" fmla="*/ 16 w 17"/>
                  <a:gd name="T25" fmla="*/ 37 h 136"/>
                  <a:gd name="T26" fmla="*/ 16 w 17"/>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6">
                    <a:moveTo>
                      <a:pt x="0" y="10"/>
                    </a:moveTo>
                    <a:cubicBezTo>
                      <a:pt x="0" y="7"/>
                      <a:pt x="0" y="4"/>
                      <a:pt x="2" y="2"/>
                    </a:cubicBezTo>
                    <a:cubicBezTo>
                      <a:pt x="4" y="1"/>
                      <a:pt x="6" y="0"/>
                      <a:pt x="8" y="0"/>
                    </a:cubicBezTo>
                    <a:cubicBezTo>
                      <a:pt x="11" y="0"/>
                      <a:pt x="13" y="1"/>
                      <a:pt x="15" y="2"/>
                    </a:cubicBezTo>
                    <a:cubicBezTo>
                      <a:pt x="16" y="4"/>
                      <a:pt x="17" y="7"/>
                      <a:pt x="17" y="10"/>
                    </a:cubicBezTo>
                    <a:cubicBezTo>
                      <a:pt x="17" y="13"/>
                      <a:pt x="16" y="16"/>
                      <a:pt x="15" y="18"/>
                    </a:cubicBezTo>
                    <a:cubicBezTo>
                      <a:pt x="13" y="19"/>
                      <a:pt x="11" y="20"/>
                      <a:pt x="8" y="20"/>
                    </a:cubicBezTo>
                    <a:cubicBezTo>
                      <a:pt x="6" y="20"/>
                      <a:pt x="4" y="19"/>
                      <a:pt x="2" y="18"/>
                    </a:cubicBezTo>
                    <a:cubicBezTo>
                      <a:pt x="0" y="16"/>
                      <a:pt x="0" y="13"/>
                      <a:pt x="0" y="10"/>
                    </a:cubicBezTo>
                    <a:close/>
                    <a:moveTo>
                      <a:pt x="16" y="136"/>
                    </a:moveTo>
                    <a:cubicBezTo>
                      <a:pt x="1" y="136"/>
                      <a:pt x="1" y="136"/>
                      <a:pt x="1" y="136"/>
                    </a:cubicBezTo>
                    <a:cubicBezTo>
                      <a:pt x="1" y="37"/>
                      <a:pt x="1" y="37"/>
                      <a:pt x="1" y="37"/>
                    </a:cubicBezTo>
                    <a:cubicBezTo>
                      <a:pt x="16" y="37"/>
                      <a:pt x="16" y="37"/>
                      <a:pt x="16" y="37"/>
                    </a:cubicBezTo>
                    <a:lnTo>
                      <a:pt x="16"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06"/>
              <p:cNvSpPr>
                <a:spLocks/>
              </p:cNvSpPr>
              <p:nvPr/>
            </p:nvSpPr>
            <p:spPr bwMode="auto">
              <a:xfrm>
                <a:off x="3183486" y="4152080"/>
                <a:ext cx="115017" cy="139663"/>
              </a:xfrm>
              <a:custGeom>
                <a:avLst/>
                <a:gdLst>
                  <a:gd name="T0" fmla="*/ 68 w 83"/>
                  <a:gd name="T1" fmla="*/ 101 h 101"/>
                  <a:gd name="T2" fmla="*/ 68 w 83"/>
                  <a:gd name="T3" fmla="*/ 37 h 101"/>
                  <a:gd name="T4" fmla="*/ 63 w 83"/>
                  <a:gd name="T5" fmla="*/ 19 h 101"/>
                  <a:gd name="T6" fmla="*/ 45 w 83"/>
                  <a:gd name="T7" fmla="*/ 13 h 101"/>
                  <a:gd name="T8" fmla="*/ 23 w 83"/>
                  <a:gd name="T9" fmla="*/ 21 h 101"/>
                  <a:gd name="T10" fmla="*/ 15 w 83"/>
                  <a:gd name="T11" fmla="*/ 49 h 101"/>
                  <a:gd name="T12" fmla="*/ 15 w 83"/>
                  <a:gd name="T13" fmla="*/ 101 h 101"/>
                  <a:gd name="T14" fmla="*/ 0 w 83"/>
                  <a:gd name="T15" fmla="*/ 101 h 101"/>
                  <a:gd name="T16" fmla="*/ 0 w 83"/>
                  <a:gd name="T17" fmla="*/ 2 h 101"/>
                  <a:gd name="T18" fmla="*/ 12 w 83"/>
                  <a:gd name="T19" fmla="*/ 2 h 101"/>
                  <a:gd name="T20" fmla="*/ 15 w 83"/>
                  <a:gd name="T21" fmla="*/ 16 h 101"/>
                  <a:gd name="T22" fmla="*/ 16 w 83"/>
                  <a:gd name="T23" fmla="*/ 16 h 101"/>
                  <a:gd name="T24" fmla="*/ 29 w 83"/>
                  <a:gd name="T25" fmla="*/ 4 h 101"/>
                  <a:gd name="T26" fmla="*/ 47 w 83"/>
                  <a:gd name="T27" fmla="*/ 0 h 101"/>
                  <a:gd name="T28" fmla="*/ 74 w 83"/>
                  <a:gd name="T29" fmla="*/ 9 h 101"/>
                  <a:gd name="T30" fmla="*/ 83 w 83"/>
                  <a:gd name="T31" fmla="*/ 37 h 101"/>
                  <a:gd name="T32" fmla="*/ 83 w 83"/>
                  <a:gd name="T33" fmla="*/ 101 h 101"/>
                  <a:gd name="T34" fmla="*/ 68 w 83"/>
                  <a:gd name="T3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1">
                    <a:moveTo>
                      <a:pt x="68" y="101"/>
                    </a:moveTo>
                    <a:cubicBezTo>
                      <a:pt x="68" y="37"/>
                      <a:pt x="68" y="37"/>
                      <a:pt x="68" y="37"/>
                    </a:cubicBezTo>
                    <a:cubicBezTo>
                      <a:pt x="68" y="29"/>
                      <a:pt x="66" y="23"/>
                      <a:pt x="63" y="19"/>
                    </a:cubicBezTo>
                    <a:cubicBezTo>
                      <a:pt x="59" y="15"/>
                      <a:pt x="53" y="13"/>
                      <a:pt x="45" y="13"/>
                    </a:cubicBezTo>
                    <a:cubicBezTo>
                      <a:pt x="35" y="13"/>
                      <a:pt x="27" y="16"/>
                      <a:pt x="23" y="21"/>
                    </a:cubicBezTo>
                    <a:cubicBezTo>
                      <a:pt x="18" y="27"/>
                      <a:pt x="15" y="36"/>
                      <a:pt x="15" y="49"/>
                    </a:cubicBezTo>
                    <a:cubicBezTo>
                      <a:pt x="15" y="101"/>
                      <a:pt x="15" y="101"/>
                      <a:pt x="15" y="101"/>
                    </a:cubicBezTo>
                    <a:cubicBezTo>
                      <a:pt x="0" y="101"/>
                      <a:pt x="0" y="101"/>
                      <a:pt x="0" y="101"/>
                    </a:cubicBezTo>
                    <a:cubicBezTo>
                      <a:pt x="0" y="2"/>
                      <a:pt x="0" y="2"/>
                      <a:pt x="0" y="2"/>
                    </a:cubicBezTo>
                    <a:cubicBezTo>
                      <a:pt x="12" y="2"/>
                      <a:pt x="12" y="2"/>
                      <a:pt x="12" y="2"/>
                    </a:cubicBezTo>
                    <a:cubicBezTo>
                      <a:pt x="15" y="16"/>
                      <a:pt x="15" y="16"/>
                      <a:pt x="15" y="16"/>
                    </a:cubicBezTo>
                    <a:cubicBezTo>
                      <a:pt x="16" y="16"/>
                      <a:pt x="16" y="16"/>
                      <a:pt x="16" y="16"/>
                    </a:cubicBezTo>
                    <a:cubicBezTo>
                      <a:pt x="19" y="11"/>
                      <a:pt x="23" y="7"/>
                      <a:pt x="29" y="4"/>
                    </a:cubicBezTo>
                    <a:cubicBezTo>
                      <a:pt x="34" y="1"/>
                      <a:pt x="40" y="0"/>
                      <a:pt x="47" y="0"/>
                    </a:cubicBezTo>
                    <a:cubicBezTo>
                      <a:pt x="59" y="0"/>
                      <a:pt x="68" y="3"/>
                      <a:pt x="74" y="9"/>
                    </a:cubicBezTo>
                    <a:cubicBezTo>
                      <a:pt x="80" y="15"/>
                      <a:pt x="83" y="24"/>
                      <a:pt x="83" y="37"/>
                    </a:cubicBezTo>
                    <a:cubicBezTo>
                      <a:pt x="83" y="101"/>
                      <a:pt x="83" y="101"/>
                      <a:pt x="83" y="101"/>
                    </a:cubicBezTo>
                    <a:lnTo>
                      <a:pt x="6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07"/>
              <p:cNvSpPr>
                <a:spLocks noEditPoints="1"/>
              </p:cNvSpPr>
              <p:nvPr/>
            </p:nvSpPr>
            <p:spPr bwMode="auto">
              <a:xfrm>
                <a:off x="3317672" y="4152080"/>
                <a:ext cx="130535" cy="201735"/>
              </a:xfrm>
              <a:custGeom>
                <a:avLst/>
                <a:gdLst>
                  <a:gd name="T0" fmla="*/ 94 w 94"/>
                  <a:gd name="T1" fmla="*/ 2 h 146"/>
                  <a:gd name="T2" fmla="*/ 94 w 94"/>
                  <a:gd name="T3" fmla="*/ 11 h 146"/>
                  <a:gd name="T4" fmla="*/ 76 w 94"/>
                  <a:gd name="T5" fmla="*/ 14 h 146"/>
                  <a:gd name="T6" fmla="*/ 80 w 94"/>
                  <a:gd name="T7" fmla="*/ 22 h 146"/>
                  <a:gd name="T8" fmla="*/ 82 w 94"/>
                  <a:gd name="T9" fmla="*/ 34 h 146"/>
                  <a:gd name="T10" fmla="*/ 72 w 94"/>
                  <a:gd name="T11" fmla="*/ 57 h 146"/>
                  <a:gd name="T12" fmla="*/ 45 w 94"/>
                  <a:gd name="T13" fmla="*/ 66 h 146"/>
                  <a:gd name="T14" fmla="*/ 36 w 94"/>
                  <a:gd name="T15" fmla="*/ 65 h 146"/>
                  <a:gd name="T16" fmla="*/ 27 w 94"/>
                  <a:gd name="T17" fmla="*/ 78 h 146"/>
                  <a:gd name="T18" fmla="*/ 30 w 94"/>
                  <a:gd name="T19" fmla="*/ 84 h 146"/>
                  <a:gd name="T20" fmla="*/ 42 w 94"/>
                  <a:gd name="T21" fmla="*/ 86 h 146"/>
                  <a:gd name="T22" fmla="*/ 59 w 94"/>
                  <a:gd name="T23" fmla="*/ 86 h 146"/>
                  <a:gd name="T24" fmla="*/ 84 w 94"/>
                  <a:gd name="T25" fmla="*/ 92 h 146"/>
                  <a:gd name="T26" fmla="*/ 93 w 94"/>
                  <a:gd name="T27" fmla="*/ 112 h 146"/>
                  <a:gd name="T28" fmla="*/ 80 w 94"/>
                  <a:gd name="T29" fmla="*/ 137 h 146"/>
                  <a:gd name="T30" fmla="*/ 41 w 94"/>
                  <a:gd name="T31" fmla="*/ 146 h 146"/>
                  <a:gd name="T32" fmla="*/ 11 w 94"/>
                  <a:gd name="T33" fmla="*/ 139 h 146"/>
                  <a:gd name="T34" fmla="*/ 0 w 94"/>
                  <a:gd name="T35" fmla="*/ 118 h 146"/>
                  <a:gd name="T36" fmla="*/ 6 w 94"/>
                  <a:gd name="T37" fmla="*/ 103 h 146"/>
                  <a:gd name="T38" fmla="*/ 22 w 94"/>
                  <a:gd name="T39" fmla="*/ 94 h 146"/>
                  <a:gd name="T40" fmla="*/ 16 w 94"/>
                  <a:gd name="T41" fmla="*/ 88 h 146"/>
                  <a:gd name="T42" fmla="*/ 13 w 94"/>
                  <a:gd name="T43" fmla="*/ 80 h 146"/>
                  <a:gd name="T44" fmla="*/ 16 w 94"/>
                  <a:gd name="T45" fmla="*/ 70 h 146"/>
                  <a:gd name="T46" fmla="*/ 25 w 94"/>
                  <a:gd name="T47" fmla="*/ 62 h 146"/>
                  <a:gd name="T48" fmla="*/ 13 w 94"/>
                  <a:gd name="T49" fmla="*/ 52 h 146"/>
                  <a:gd name="T50" fmla="*/ 8 w 94"/>
                  <a:gd name="T51" fmla="*/ 34 h 146"/>
                  <a:gd name="T52" fmla="*/ 18 w 94"/>
                  <a:gd name="T53" fmla="*/ 9 h 146"/>
                  <a:gd name="T54" fmla="*/ 46 w 94"/>
                  <a:gd name="T55" fmla="*/ 0 h 146"/>
                  <a:gd name="T56" fmla="*/ 60 w 94"/>
                  <a:gd name="T57" fmla="*/ 2 h 146"/>
                  <a:gd name="T58" fmla="*/ 94 w 94"/>
                  <a:gd name="T59" fmla="*/ 2 h 146"/>
                  <a:gd name="T60" fmla="*/ 15 w 94"/>
                  <a:gd name="T61" fmla="*/ 118 h 146"/>
                  <a:gd name="T62" fmla="*/ 22 w 94"/>
                  <a:gd name="T63" fmla="*/ 130 h 146"/>
                  <a:gd name="T64" fmla="*/ 41 w 94"/>
                  <a:gd name="T65" fmla="*/ 135 h 146"/>
                  <a:gd name="T66" fmla="*/ 69 w 94"/>
                  <a:gd name="T67" fmla="*/ 129 h 146"/>
                  <a:gd name="T68" fmla="*/ 78 w 94"/>
                  <a:gd name="T69" fmla="*/ 114 h 146"/>
                  <a:gd name="T70" fmla="*/ 73 w 94"/>
                  <a:gd name="T71" fmla="*/ 102 h 146"/>
                  <a:gd name="T72" fmla="*/ 55 w 94"/>
                  <a:gd name="T73" fmla="*/ 99 h 146"/>
                  <a:gd name="T74" fmla="*/ 36 w 94"/>
                  <a:gd name="T75" fmla="*/ 99 h 146"/>
                  <a:gd name="T76" fmla="*/ 20 w 94"/>
                  <a:gd name="T77" fmla="*/ 104 h 146"/>
                  <a:gd name="T78" fmla="*/ 15 w 94"/>
                  <a:gd name="T79" fmla="*/ 118 h 146"/>
                  <a:gd name="T80" fmla="*/ 23 w 94"/>
                  <a:gd name="T81" fmla="*/ 34 h 146"/>
                  <a:gd name="T82" fmla="*/ 29 w 94"/>
                  <a:gd name="T83" fmla="*/ 50 h 146"/>
                  <a:gd name="T84" fmla="*/ 45 w 94"/>
                  <a:gd name="T85" fmla="*/ 55 h 146"/>
                  <a:gd name="T86" fmla="*/ 67 w 94"/>
                  <a:gd name="T87" fmla="*/ 34 h 146"/>
                  <a:gd name="T88" fmla="*/ 45 w 94"/>
                  <a:gd name="T89" fmla="*/ 11 h 146"/>
                  <a:gd name="T90" fmla="*/ 29 w 94"/>
                  <a:gd name="T91" fmla="*/ 17 h 146"/>
                  <a:gd name="T92" fmla="*/ 23 w 94"/>
                  <a:gd name="T93" fmla="*/ 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146">
                    <a:moveTo>
                      <a:pt x="94" y="2"/>
                    </a:moveTo>
                    <a:cubicBezTo>
                      <a:pt x="94" y="11"/>
                      <a:pt x="94" y="11"/>
                      <a:pt x="94" y="11"/>
                    </a:cubicBezTo>
                    <a:cubicBezTo>
                      <a:pt x="76" y="14"/>
                      <a:pt x="76" y="14"/>
                      <a:pt x="76" y="14"/>
                    </a:cubicBezTo>
                    <a:cubicBezTo>
                      <a:pt x="77" y="16"/>
                      <a:pt x="79" y="19"/>
                      <a:pt x="80" y="22"/>
                    </a:cubicBezTo>
                    <a:cubicBezTo>
                      <a:pt x="82" y="25"/>
                      <a:pt x="82" y="29"/>
                      <a:pt x="82" y="34"/>
                    </a:cubicBezTo>
                    <a:cubicBezTo>
                      <a:pt x="82" y="43"/>
                      <a:pt x="79" y="51"/>
                      <a:pt x="72" y="57"/>
                    </a:cubicBezTo>
                    <a:cubicBezTo>
                      <a:pt x="66" y="63"/>
                      <a:pt x="56" y="66"/>
                      <a:pt x="45" y="66"/>
                    </a:cubicBezTo>
                    <a:cubicBezTo>
                      <a:pt x="42" y="66"/>
                      <a:pt x="39" y="65"/>
                      <a:pt x="36" y="65"/>
                    </a:cubicBezTo>
                    <a:cubicBezTo>
                      <a:pt x="30" y="68"/>
                      <a:pt x="27" y="73"/>
                      <a:pt x="27" y="78"/>
                    </a:cubicBezTo>
                    <a:cubicBezTo>
                      <a:pt x="27" y="80"/>
                      <a:pt x="28" y="82"/>
                      <a:pt x="30" y="84"/>
                    </a:cubicBezTo>
                    <a:cubicBezTo>
                      <a:pt x="32" y="85"/>
                      <a:pt x="36" y="86"/>
                      <a:pt x="42" y="86"/>
                    </a:cubicBezTo>
                    <a:cubicBezTo>
                      <a:pt x="59" y="86"/>
                      <a:pt x="59" y="86"/>
                      <a:pt x="59" y="86"/>
                    </a:cubicBezTo>
                    <a:cubicBezTo>
                      <a:pt x="70" y="86"/>
                      <a:pt x="78" y="88"/>
                      <a:pt x="84" y="92"/>
                    </a:cubicBezTo>
                    <a:cubicBezTo>
                      <a:pt x="90" y="97"/>
                      <a:pt x="93" y="104"/>
                      <a:pt x="93" y="112"/>
                    </a:cubicBezTo>
                    <a:cubicBezTo>
                      <a:pt x="93" y="123"/>
                      <a:pt x="88" y="132"/>
                      <a:pt x="80" y="137"/>
                    </a:cubicBezTo>
                    <a:cubicBezTo>
                      <a:pt x="71" y="143"/>
                      <a:pt x="58" y="146"/>
                      <a:pt x="41" y="146"/>
                    </a:cubicBezTo>
                    <a:cubicBezTo>
                      <a:pt x="28" y="146"/>
                      <a:pt x="18" y="144"/>
                      <a:pt x="11" y="139"/>
                    </a:cubicBezTo>
                    <a:cubicBezTo>
                      <a:pt x="4" y="134"/>
                      <a:pt x="0" y="127"/>
                      <a:pt x="0" y="118"/>
                    </a:cubicBezTo>
                    <a:cubicBezTo>
                      <a:pt x="0" y="112"/>
                      <a:pt x="2" y="107"/>
                      <a:pt x="6" y="103"/>
                    </a:cubicBezTo>
                    <a:cubicBezTo>
                      <a:pt x="10" y="98"/>
                      <a:pt x="15" y="95"/>
                      <a:pt x="22" y="94"/>
                    </a:cubicBezTo>
                    <a:cubicBezTo>
                      <a:pt x="20" y="93"/>
                      <a:pt x="18" y="91"/>
                      <a:pt x="16" y="88"/>
                    </a:cubicBezTo>
                    <a:cubicBezTo>
                      <a:pt x="14" y="86"/>
                      <a:pt x="13" y="83"/>
                      <a:pt x="13" y="80"/>
                    </a:cubicBezTo>
                    <a:cubicBezTo>
                      <a:pt x="13" y="76"/>
                      <a:pt x="14" y="73"/>
                      <a:pt x="16" y="70"/>
                    </a:cubicBezTo>
                    <a:cubicBezTo>
                      <a:pt x="18" y="68"/>
                      <a:pt x="21" y="65"/>
                      <a:pt x="25" y="62"/>
                    </a:cubicBezTo>
                    <a:cubicBezTo>
                      <a:pt x="20" y="60"/>
                      <a:pt x="16" y="57"/>
                      <a:pt x="13" y="52"/>
                    </a:cubicBezTo>
                    <a:cubicBezTo>
                      <a:pt x="10" y="47"/>
                      <a:pt x="8" y="41"/>
                      <a:pt x="8" y="34"/>
                    </a:cubicBezTo>
                    <a:cubicBezTo>
                      <a:pt x="8" y="23"/>
                      <a:pt x="11" y="15"/>
                      <a:pt x="18" y="9"/>
                    </a:cubicBezTo>
                    <a:cubicBezTo>
                      <a:pt x="24" y="3"/>
                      <a:pt x="34" y="0"/>
                      <a:pt x="46" y="0"/>
                    </a:cubicBezTo>
                    <a:cubicBezTo>
                      <a:pt x="51" y="0"/>
                      <a:pt x="56" y="1"/>
                      <a:pt x="60" y="2"/>
                    </a:cubicBezTo>
                    <a:lnTo>
                      <a:pt x="94" y="2"/>
                    </a:lnTo>
                    <a:close/>
                    <a:moveTo>
                      <a:pt x="15" y="118"/>
                    </a:moveTo>
                    <a:cubicBezTo>
                      <a:pt x="15" y="124"/>
                      <a:pt x="17" y="128"/>
                      <a:pt x="22" y="130"/>
                    </a:cubicBezTo>
                    <a:cubicBezTo>
                      <a:pt x="26" y="133"/>
                      <a:pt x="33" y="135"/>
                      <a:pt x="41" y="135"/>
                    </a:cubicBezTo>
                    <a:cubicBezTo>
                      <a:pt x="54" y="135"/>
                      <a:pt x="63" y="133"/>
                      <a:pt x="69" y="129"/>
                    </a:cubicBezTo>
                    <a:cubicBezTo>
                      <a:pt x="75" y="125"/>
                      <a:pt x="78" y="120"/>
                      <a:pt x="78" y="114"/>
                    </a:cubicBezTo>
                    <a:cubicBezTo>
                      <a:pt x="78" y="108"/>
                      <a:pt x="77" y="104"/>
                      <a:pt x="73" y="102"/>
                    </a:cubicBezTo>
                    <a:cubicBezTo>
                      <a:pt x="70" y="100"/>
                      <a:pt x="64" y="99"/>
                      <a:pt x="55" y="99"/>
                    </a:cubicBezTo>
                    <a:cubicBezTo>
                      <a:pt x="36" y="99"/>
                      <a:pt x="36" y="99"/>
                      <a:pt x="36" y="99"/>
                    </a:cubicBezTo>
                    <a:cubicBezTo>
                      <a:pt x="30" y="99"/>
                      <a:pt x="24" y="101"/>
                      <a:pt x="20" y="104"/>
                    </a:cubicBezTo>
                    <a:cubicBezTo>
                      <a:pt x="17" y="107"/>
                      <a:pt x="15" y="112"/>
                      <a:pt x="15" y="118"/>
                    </a:cubicBezTo>
                    <a:close/>
                    <a:moveTo>
                      <a:pt x="23" y="34"/>
                    </a:moveTo>
                    <a:cubicBezTo>
                      <a:pt x="23" y="41"/>
                      <a:pt x="25" y="46"/>
                      <a:pt x="29" y="50"/>
                    </a:cubicBezTo>
                    <a:cubicBezTo>
                      <a:pt x="33" y="53"/>
                      <a:pt x="38" y="55"/>
                      <a:pt x="45" y="55"/>
                    </a:cubicBezTo>
                    <a:cubicBezTo>
                      <a:pt x="60" y="55"/>
                      <a:pt x="67" y="48"/>
                      <a:pt x="67" y="34"/>
                    </a:cubicBezTo>
                    <a:cubicBezTo>
                      <a:pt x="67" y="19"/>
                      <a:pt x="60" y="11"/>
                      <a:pt x="45" y="11"/>
                    </a:cubicBezTo>
                    <a:cubicBezTo>
                      <a:pt x="38" y="11"/>
                      <a:pt x="32" y="13"/>
                      <a:pt x="29" y="17"/>
                    </a:cubicBezTo>
                    <a:cubicBezTo>
                      <a:pt x="25" y="21"/>
                      <a:pt x="23" y="26"/>
                      <a:pt x="23" y="3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08"/>
              <p:cNvSpPr>
                <a:spLocks noEditPoints="1"/>
              </p:cNvSpPr>
              <p:nvPr/>
            </p:nvSpPr>
            <p:spPr bwMode="auto">
              <a:xfrm>
                <a:off x="3519407" y="4152080"/>
                <a:ext cx="111365" cy="142401"/>
              </a:xfrm>
              <a:custGeom>
                <a:avLst/>
                <a:gdLst>
                  <a:gd name="T0" fmla="*/ 69 w 80"/>
                  <a:gd name="T1" fmla="*/ 101 h 103"/>
                  <a:gd name="T2" fmla="*/ 66 w 80"/>
                  <a:gd name="T3" fmla="*/ 87 h 103"/>
                  <a:gd name="T4" fmla="*/ 65 w 80"/>
                  <a:gd name="T5" fmla="*/ 87 h 103"/>
                  <a:gd name="T6" fmla="*/ 50 w 80"/>
                  <a:gd name="T7" fmla="*/ 100 h 103"/>
                  <a:gd name="T8" fmla="*/ 32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4" y="22"/>
                      <a:pt x="60" y="18"/>
                    </a:cubicBezTo>
                    <a:cubicBezTo>
                      <a:pt x="57" y="15"/>
                      <a:pt x="51" y="13"/>
                      <a:pt x="44" y="13"/>
                    </a:cubicBezTo>
                    <a:cubicBezTo>
                      <a:pt x="36" y="13"/>
                      <a:pt x="26" y="15"/>
                      <a:pt x="16" y="20"/>
                    </a:cubicBezTo>
                    <a:cubicBezTo>
                      <a:pt x="11" y="9"/>
                      <a:pt x="11" y="9"/>
                      <a:pt x="11" y="9"/>
                    </a:cubicBezTo>
                    <a:cubicBezTo>
                      <a:pt x="16" y="6"/>
                      <a:pt x="22" y="4"/>
                      <a:pt x="27" y="3"/>
                    </a:cubicBezTo>
                    <a:cubicBezTo>
                      <a:pt x="33" y="1"/>
                      <a:pt x="39" y="0"/>
                      <a:pt x="45" y="0"/>
                    </a:cubicBezTo>
                    <a:cubicBezTo>
                      <a:pt x="57" y="0"/>
                      <a:pt x="66" y="3"/>
                      <a:pt x="71" y="8"/>
                    </a:cubicBezTo>
                    <a:cubicBezTo>
                      <a:pt x="77" y="13"/>
                      <a:pt x="80" y="22"/>
                      <a:pt x="80" y="34"/>
                    </a:cubicBezTo>
                    <a:cubicBezTo>
                      <a:pt x="80" y="101"/>
                      <a:pt x="80" y="101"/>
                      <a:pt x="80" y="101"/>
                    </a:cubicBezTo>
                    <a:lnTo>
                      <a:pt x="69" y="101"/>
                    </a:lnTo>
                    <a:close/>
                    <a:moveTo>
                      <a:pt x="35"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9" y="62"/>
                      <a:pt x="16" y="67"/>
                      <a:pt x="16" y="74"/>
                    </a:cubicBezTo>
                    <a:cubicBezTo>
                      <a:pt x="16" y="80"/>
                      <a:pt x="18" y="84"/>
                      <a:pt x="21" y="87"/>
                    </a:cubicBezTo>
                    <a:cubicBezTo>
                      <a:pt x="24" y="89"/>
                      <a:pt x="29" y="91"/>
                      <a:pt x="35"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09"/>
              <p:cNvSpPr>
                <a:spLocks/>
              </p:cNvSpPr>
              <p:nvPr/>
            </p:nvSpPr>
            <p:spPr bwMode="auto">
              <a:xfrm>
                <a:off x="3666373" y="4152080"/>
                <a:ext cx="115017" cy="139663"/>
              </a:xfrm>
              <a:custGeom>
                <a:avLst/>
                <a:gdLst>
                  <a:gd name="T0" fmla="*/ 68 w 83"/>
                  <a:gd name="T1" fmla="*/ 101 h 101"/>
                  <a:gd name="T2" fmla="*/ 68 w 83"/>
                  <a:gd name="T3" fmla="*/ 37 h 101"/>
                  <a:gd name="T4" fmla="*/ 63 w 83"/>
                  <a:gd name="T5" fmla="*/ 19 h 101"/>
                  <a:gd name="T6" fmla="*/ 45 w 83"/>
                  <a:gd name="T7" fmla="*/ 13 h 101"/>
                  <a:gd name="T8" fmla="*/ 23 w 83"/>
                  <a:gd name="T9" fmla="*/ 21 h 101"/>
                  <a:gd name="T10" fmla="*/ 15 w 83"/>
                  <a:gd name="T11" fmla="*/ 49 h 101"/>
                  <a:gd name="T12" fmla="*/ 15 w 83"/>
                  <a:gd name="T13" fmla="*/ 101 h 101"/>
                  <a:gd name="T14" fmla="*/ 0 w 83"/>
                  <a:gd name="T15" fmla="*/ 101 h 101"/>
                  <a:gd name="T16" fmla="*/ 0 w 83"/>
                  <a:gd name="T17" fmla="*/ 2 h 101"/>
                  <a:gd name="T18" fmla="*/ 13 w 83"/>
                  <a:gd name="T19" fmla="*/ 2 h 101"/>
                  <a:gd name="T20" fmla="*/ 15 w 83"/>
                  <a:gd name="T21" fmla="*/ 16 h 101"/>
                  <a:gd name="T22" fmla="*/ 16 w 83"/>
                  <a:gd name="T23" fmla="*/ 16 h 101"/>
                  <a:gd name="T24" fmla="*/ 29 w 83"/>
                  <a:gd name="T25" fmla="*/ 4 h 101"/>
                  <a:gd name="T26" fmla="*/ 47 w 83"/>
                  <a:gd name="T27" fmla="*/ 0 h 101"/>
                  <a:gd name="T28" fmla="*/ 74 w 83"/>
                  <a:gd name="T29" fmla="*/ 9 h 101"/>
                  <a:gd name="T30" fmla="*/ 83 w 83"/>
                  <a:gd name="T31" fmla="*/ 37 h 101"/>
                  <a:gd name="T32" fmla="*/ 83 w 83"/>
                  <a:gd name="T33" fmla="*/ 101 h 101"/>
                  <a:gd name="T34" fmla="*/ 68 w 83"/>
                  <a:gd name="T3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1">
                    <a:moveTo>
                      <a:pt x="68" y="101"/>
                    </a:moveTo>
                    <a:cubicBezTo>
                      <a:pt x="68" y="37"/>
                      <a:pt x="68" y="37"/>
                      <a:pt x="68" y="37"/>
                    </a:cubicBezTo>
                    <a:cubicBezTo>
                      <a:pt x="68" y="29"/>
                      <a:pt x="67" y="23"/>
                      <a:pt x="63" y="19"/>
                    </a:cubicBezTo>
                    <a:cubicBezTo>
                      <a:pt x="59" y="15"/>
                      <a:pt x="53" y="13"/>
                      <a:pt x="45" y="13"/>
                    </a:cubicBezTo>
                    <a:cubicBezTo>
                      <a:pt x="35" y="13"/>
                      <a:pt x="27" y="16"/>
                      <a:pt x="23" y="21"/>
                    </a:cubicBezTo>
                    <a:cubicBezTo>
                      <a:pt x="18" y="27"/>
                      <a:pt x="15" y="36"/>
                      <a:pt x="15" y="49"/>
                    </a:cubicBezTo>
                    <a:cubicBezTo>
                      <a:pt x="15" y="101"/>
                      <a:pt x="15" y="101"/>
                      <a:pt x="15" y="101"/>
                    </a:cubicBezTo>
                    <a:cubicBezTo>
                      <a:pt x="0" y="101"/>
                      <a:pt x="0" y="101"/>
                      <a:pt x="0" y="101"/>
                    </a:cubicBezTo>
                    <a:cubicBezTo>
                      <a:pt x="0" y="2"/>
                      <a:pt x="0" y="2"/>
                      <a:pt x="0" y="2"/>
                    </a:cubicBezTo>
                    <a:cubicBezTo>
                      <a:pt x="13" y="2"/>
                      <a:pt x="13" y="2"/>
                      <a:pt x="13" y="2"/>
                    </a:cubicBezTo>
                    <a:cubicBezTo>
                      <a:pt x="15" y="16"/>
                      <a:pt x="15" y="16"/>
                      <a:pt x="15" y="16"/>
                    </a:cubicBezTo>
                    <a:cubicBezTo>
                      <a:pt x="16" y="16"/>
                      <a:pt x="16" y="16"/>
                      <a:pt x="16" y="16"/>
                    </a:cubicBezTo>
                    <a:cubicBezTo>
                      <a:pt x="19" y="11"/>
                      <a:pt x="23" y="7"/>
                      <a:pt x="29" y="4"/>
                    </a:cubicBezTo>
                    <a:cubicBezTo>
                      <a:pt x="34" y="1"/>
                      <a:pt x="40" y="0"/>
                      <a:pt x="47" y="0"/>
                    </a:cubicBezTo>
                    <a:cubicBezTo>
                      <a:pt x="59" y="0"/>
                      <a:pt x="68" y="3"/>
                      <a:pt x="74" y="9"/>
                    </a:cubicBezTo>
                    <a:cubicBezTo>
                      <a:pt x="80" y="15"/>
                      <a:pt x="83" y="24"/>
                      <a:pt x="83" y="37"/>
                    </a:cubicBezTo>
                    <a:cubicBezTo>
                      <a:pt x="83" y="101"/>
                      <a:pt x="83" y="101"/>
                      <a:pt x="83" y="101"/>
                    </a:cubicBezTo>
                    <a:lnTo>
                      <a:pt x="6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10"/>
              <p:cNvSpPr>
                <a:spLocks noEditPoints="1"/>
              </p:cNvSpPr>
              <p:nvPr/>
            </p:nvSpPr>
            <p:spPr bwMode="auto">
              <a:xfrm>
                <a:off x="3877237" y="4103700"/>
                <a:ext cx="24646" cy="188043"/>
              </a:xfrm>
              <a:custGeom>
                <a:avLst/>
                <a:gdLst>
                  <a:gd name="T0" fmla="*/ 0 w 18"/>
                  <a:gd name="T1" fmla="*/ 10 h 136"/>
                  <a:gd name="T2" fmla="*/ 3 w 18"/>
                  <a:gd name="T3" fmla="*/ 2 h 136"/>
                  <a:gd name="T4" fmla="*/ 9 w 18"/>
                  <a:gd name="T5" fmla="*/ 0 h 136"/>
                  <a:gd name="T6" fmla="*/ 15 w 18"/>
                  <a:gd name="T7" fmla="*/ 2 h 136"/>
                  <a:gd name="T8" fmla="*/ 18 w 18"/>
                  <a:gd name="T9" fmla="*/ 10 h 136"/>
                  <a:gd name="T10" fmla="*/ 15 w 18"/>
                  <a:gd name="T11" fmla="*/ 18 h 136"/>
                  <a:gd name="T12" fmla="*/ 9 w 18"/>
                  <a:gd name="T13" fmla="*/ 20 h 136"/>
                  <a:gd name="T14" fmla="*/ 3 w 18"/>
                  <a:gd name="T15" fmla="*/ 18 h 136"/>
                  <a:gd name="T16" fmla="*/ 0 w 18"/>
                  <a:gd name="T17" fmla="*/ 10 h 136"/>
                  <a:gd name="T18" fmla="*/ 16 w 18"/>
                  <a:gd name="T19" fmla="*/ 136 h 136"/>
                  <a:gd name="T20" fmla="*/ 1 w 18"/>
                  <a:gd name="T21" fmla="*/ 136 h 136"/>
                  <a:gd name="T22" fmla="*/ 1 w 18"/>
                  <a:gd name="T23" fmla="*/ 37 h 136"/>
                  <a:gd name="T24" fmla="*/ 16 w 18"/>
                  <a:gd name="T25" fmla="*/ 37 h 136"/>
                  <a:gd name="T26" fmla="*/ 16 w 18"/>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6">
                    <a:moveTo>
                      <a:pt x="0" y="10"/>
                    </a:moveTo>
                    <a:cubicBezTo>
                      <a:pt x="0" y="7"/>
                      <a:pt x="1" y="4"/>
                      <a:pt x="3" y="2"/>
                    </a:cubicBezTo>
                    <a:cubicBezTo>
                      <a:pt x="4" y="1"/>
                      <a:pt x="6" y="0"/>
                      <a:pt x="9" y="0"/>
                    </a:cubicBezTo>
                    <a:cubicBezTo>
                      <a:pt x="11" y="0"/>
                      <a:pt x="14" y="1"/>
                      <a:pt x="15" y="2"/>
                    </a:cubicBezTo>
                    <a:cubicBezTo>
                      <a:pt x="17" y="4"/>
                      <a:pt x="18" y="7"/>
                      <a:pt x="18" y="10"/>
                    </a:cubicBezTo>
                    <a:cubicBezTo>
                      <a:pt x="18" y="13"/>
                      <a:pt x="17" y="16"/>
                      <a:pt x="15" y="18"/>
                    </a:cubicBezTo>
                    <a:cubicBezTo>
                      <a:pt x="14" y="19"/>
                      <a:pt x="11" y="20"/>
                      <a:pt x="9" y="20"/>
                    </a:cubicBezTo>
                    <a:cubicBezTo>
                      <a:pt x="6" y="20"/>
                      <a:pt x="4" y="19"/>
                      <a:pt x="3" y="18"/>
                    </a:cubicBezTo>
                    <a:cubicBezTo>
                      <a:pt x="1" y="16"/>
                      <a:pt x="0" y="13"/>
                      <a:pt x="0" y="10"/>
                    </a:cubicBezTo>
                    <a:close/>
                    <a:moveTo>
                      <a:pt x="16" y="136"/>
                    </a:moveTo>
                    <a:cubicBezTo>
                      <a:pt x="1" y="136"/>
                      <a:pt x="1" y="136"/>
                      <a:pt x="1" y="136"/>
                    </a:cubicBezTo>
                    <a:cubicBezTo>
                      <a:pt x="1" y="37"/>
                      <a:pt x="1" y="37"/>
                      <a:pt x="1" y="37"/>
                    </a:cubicBezTo>
                    <a:cubicBezTo>
                      <a:pt x="16" y="37"/>
                      <a:pt x="16" y="37"/>
                      <a:pt x="16" y="37"/>
                    </a:cubicBezTo>
                    <a:lnTo>
                      <a:pt x="16"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11"/>
              <p:cNvSpPr>
                <a:spLocks/>
              </p:cNvSpPr>
              <p:nvPr/>
            </p:nvSpPr>
            <p:spPr bwMode="auto">
              <a:xfrm>
                <a:off x="3937483" y="4152080"/>
                <a:ext cx="197171" cy="139663"/>
              </a:xfrm>
              <a:custGeom>
                <a:avLst/>
                <a:gdLst>
                  <a:gd name="T0" fmla="*/ 127 w 142"/>
                  <a:gd name="T1" fmla="*/ 101 h 101"/>
                  <a:gd name="T2" fmla="*/ 127 w 142"/>
                  <a:gd name="T3" fmla="*/ 37 h 101"/>
                  <a:gd name="T4" fmla="*/ 121 w 142"/>
                  <a:gd name="T5" fmla="*/ 19 h 101"/>
                  <a:gd name="T6" fmla="*/ 106 w 142"/>
                  <a:gd name="T7" fmla="*/ 13 h 101"/>
                  <a:gd name="T8" fmla="*/ 85 w 142"/>
                  <a:gd name="T9" fmla="*/ 21 h 101"/>
                  <a:gd name="T10" fmla="*/ 78 w 142"/>
                  <a:gd name="T11" fmla="*/ 46 h 101"/>
                  <a:gd name="T12" fmla="*/ 78 w 142"/>
                  <a:gd name="T13" fmla="*/ 101 h 101"/>
                  <a:gd name="T14" fmla="*/ 63 w 142"/>
                  <a:gd name="T15" fmla="*/ 101 h 101"/>
                  <a:gd name="T16" fmla="*/ 63 w 142"/>
                  <a:gd name="T17" fmla="*/ 37 h 101"/>
                  <a:gd name="T18" fmla="*/ 58 w 142"/>
                  <a:gd name="T19" fmla="*/ 19 h 101"/>
                  <a:gd name="T20" fmla="*/ 42 w 142"/>
                  <a:gd name="T21" fmla="*/ 13 h 101"/>
                  <a:gd name="T22" fmla="*/ 21 w 142"/>
                  <a:gd name="T23" fmla="*/ 21 h 101"/>
                  <a:gd name="T24" fmla="*/ 15 w 142"/>
                  <a:gd name="T25" fmla="*/ 49 h 101"/>
                  <a:gd name="T26" fmla="*/ 15 w 142"/>
                  <a:gd name="T27" fmla="*/ 101 h 101"/>
                  <a:gd name="T28" fmla="*/ 0 w 142"/>
                  <a:gd name="T29" fmla="*/ 101 h 101"/>
                  <a:gd name="T30" fmla="*/ 0 w 142"/>
                  <a:gd name="T31" fmla="*/ 2 h 101"/>
                  <a:gd name="T32" fmla="*/ 12 w 142"/>
                  <a:gd name="T33" fmla="*/ 2 h 101"/>
                  <a:gd name="T34" fmla="*/ 14 w 142"/>
                  <a:gd name="T35" fmla="*/ 16 h 101"/>
                  <a:gd name="T36" fmla="*/ 15 w 142"/>
                  <a:gd name="T37" fmla="*/ 16 h 101"/>
                  <a:gd name="T38" fmla="*/ 27 w 142"/>
                  <a:gd name="T39" fmla="*/ 4 h 101"/>
                  <a:gd name="T40" fmla="*/ 45 w 142"/>
                  <a:gd name="T41" fmla="*/ 0 h 101"/>
                  <a:gd name="T42" fmla="*/ 75 w 142"/>
                  <a:gd name="T43" fmla="*/ 17 h 101"/>
                  <a:gd name="T44" fmla="*/ 76 w 142"/>
                  <a:gd name="T45" fmla="*/ 17 h 101"/>
                  <a:gd name="T46" fmla="*/ 89 w 142"/>
                  <a:gd name="T47" fmla="*/ 5 h 101"/>
                  <a:gd name="T48" fmla="*/ 108 w 142"/>
                  <a:gd name="T49" fmla="*/ 0 h 101"/>
                  <a:gd name="T50" fmla="*/ 133 w 142"/>
                  <a:gd name="T51" fmla="*/ 9 h 101"/>
                  <a:gd name="T52" fmla="*/ 142 w 142"/>
                  <a:gd name="T53" fmla="*/ 37 h 101"/>
                  <a:gd name="T54" fmla="*/ 142 w 142"/>
                  <a:gd name="T55" fmla="*/ 101 h 101"/>
                  <a:gd name="T56" fmla="*/ 127 w 142"/>
                  <a:gd name="T5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01">
                    <a:moveTo>
                      <a:pt x="127" y="101"/>
                    </a:moveTo>
                    <a:cubicBezTo>
                      <a:pt x="127" y="37"/>
                      <a:pt x="127" y="37"/>
                      <a:pt x="127" y="37"/>
                    </a:cubicBezTo>
                    <a:cubicBezTo>
                      <a:pt x="127" y="29"/>
                      <a:pt x="125" y="23"/>
                      <a:pt x="121" y="19"/>
                    </a:cubicBezTo>
                    <a:cubicBezTo>
                      <a:pt x="118" y="15"/>
                      <a:pt x="113" y="13"/>
                      <a:pt x="106" y="13"/>
                    </a:cubicBezTo>
                    <a:cubicBezTo>
                      <a:pt x="96" y="13"/>
                      <a:pt x="89" y="16"/>
                      <a:pt x="85" y="21"/>
                    </a:cubicBezTo>
                    <a:cubicBezTo>
                      <a:pt x="80" y="26"/>
                      <a:pt x="78" y="35"/>
                      <a:pt x="78" y="46"/>
                    </a:cubicBezTo>
                    <a:cubicBezTo>
                      <a:pt x="78" y="101"/>
                      <a:pt x="78" y="101"/>
                      <a:pt x="78" y="101"/>
                    </a:cubicBezTo>
                    <a:cubicBezTo>
                      <a:pt x="63" y="101"/>
                      <a:pt x="63" y="101"/>
                      <a:pt x="63" y="101"/>
                    </a:cubicBezTo>
                    <a:cubicBezTo>
                      <a:pt x="63" y="37"/>
                      <a:pt x="63" y="37"/>
                      <a:pt x="63" y="37"/>
                    </a:cubicBezTo>
                    <a:cubicBezTo>
                      <a:pt x="63" y="29"/>
                      <a:pt x="61" y="23"/>
                      <a:pt x="58" y="19"/>
                    </a:cubicBezTo>
                    <a:cubicBezTo>
                      <a:pt x="55" y="15"/>
                      <a:pt x="49" y="13"/>
                      <a:pt x="42" y="13"/>
                    </a:cubicBezTo>
                    <a:cubicBezTo>
                      <a:pt x="33" y="13"/>
                      <a:pt x="26" y="16"/>
                      <a:pt x="21" y="21"/>
                    </a:cubicBezTo>
                    <a:cubicBezTo>
                      <a:pt x="17" y="27"/>
                      <a:pt x="15" y="36"/>
                      <a:pt x="15" y="49"/>
                    </a:cubicBezTo>
                    <a:cubicBezTo>
                      <a:pt x="15" y="101"/>
                      <a:pt x="15" y="101"/>
                      <a:pt x="15" y="101"/>
                    </a:cubicBezTo>
                    <a:cubicBezTo>
                      <a:pt x="0" y="101"/>
                      <a:pt x="0" y="101"/>
                      <a:pt x="0" y="101"/>
                    </a:cubicBezTo>
                    <a:cubicBezTo>
                      <a:pt x="0" y="2"/>
                      <a:pt x="0" y="2"/>
                      <a:pt x="0" y="2"/>
                    </a:cubicBezTo>
                    <a:cubicBezTo>
                      <a:pt x="12" y="2"/>
                      <a:pt x="12" y="2"/>
                      <a:pt x="12" y="2"/>
                    </a:cubicBezTo>
                    <a:cubicBezTo>
                      <a:pt x="14" y="16"/>
                      <a:pt x="14" y="16"/>
                      <a:pt x="14" y="16"/>
                    </a:cubicBezTo>
                    <a:cubicBezTo>
                      <a:pt x="15" y="16"/>
                      <a:pt x="15" y="16"/>
                      <a:pt x="15" y="16"/>
                    </a:cubicBezTo>
                    <a:cubicBezTo>
                      <a:pt x="18" y="11"/>
                      <a:pt x="22" y="7"/>
                      <a:pt x="27" y="4"/>
                    </a:cubicBezTo>
                    <a:cubicBezTo>
                      <a:pt x="32" y="2"/>
                      <a:pt x="38" y="0"/>
                      <a:pt x="45" y="0"/>
                    </a:cubicBezTo>
                    <a:cubicBezTo>
                      <a:pt x="60" y="0"/>
                      <a:pt x="70" y="6"/>
                      <a:pt x="75" y="17"/>
                    </a:cubicBezTo>
                    <a:cubicBezTo>
                      <a:pt x="76" y="17"/>
                      <a:pt x="76" y="17"/>
                      <a:pt x="76" y="17"/>
                    </a:cubicBezTo>
                    <a:cubicBezTo>
                      <a:pt x="79" y="12"/>
                      <a:pt x="83" y="8"/>
                      <a:pt x="89" y="5"/>
                    </a:cubicBezTo>
                    <a:cubicBezTo>
                      <a:pt x="94" y="2"/>
                      <a:pt x="101" y="0"/>
                      <a:pt x="108" y="0"/>
                    </a:cubicBezTo>
                    <a:cubicBezTo>
                      <a:pt x="119" y="0"/>
                      <a:pt x="128" y="3"/>
                      <a:pt x="133" y="9"/>
                    </a:cubicBezTo>
                    <a:cubicBezTo>
                      <a:pt x="139" y="15"/>
                      <a:pt x="142" y="24"/>
                      <a:pt x="142" y="37"/>
                    </a:cubicBezTo>
                    <a:cubicBezTo>
                      <a:pt x="142" y="101"/>
                      <a:pt x="142" y="101"/>
                      <a:pt x="142" y="101"/>
                    </a:cubicBezTo>
                    <a:lnTo>
                      <a:pt x="12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12"/>
              <p:cNvSpPr>
                <a:spLocks noEditPoints="1"/>
              </p:cNvSpPr>
              <p:nvPr/>
            </p:nvSpPr>
            <p:spPr bwMode="auto">
              <a:xfrm>
                <a:off x="4170255" y="4152080"/>
                <a:ext cx="121406" cy="201735"/>
              </a:xfrm>
              <a:custGeom>
                <a:avLst/>
                <a:gdLst>
                  <a:gd name="T0" fmla="*/ 46 w 88"/>
                  <a:gd name="T1" fmla="*/ 103 h 146"/>
                  <a:gd name="T2" fmla="*/ 29 w 88"/>
                  <a:gd name="T3" fmla="*/ 100 h 146"/>
                  <a:gd name="T4" fmla="*/ 15 w 88"/>
                  <a:gd name="T5" fmla="*/ 89 h 146"/>
                  <a:gd name="T6" fmla="*/ 14 w 88"/>
                  <a:gd name="T7" fmla="*/ 89 h 146"/>
                  <a:gd name="T8" fmla="*/ 15 w 88"/>
                  <a:gd name="T9" fmla="*/ 105 h 146"/>
                  <a:gd name="T10" fmla="*/ 15 w 88"/>
                  <a:gd name="T11" fmla="*/ 146 h 146"/>
                  <a:gd name="T12" fmla="*/ 0 w 88"/>
                  <a:gd name="T13" fmla="*/ 146 h 146"/>
                  <a:gd name="T14" fmla="*/ 0 w 88"/>
                  <a:gd name="T15" fmla="*/ 2 h 146"/>
                  <a:gd name="T16" fmla="*/ 12 w 88"/>
                  <a:gd name="T17" fmla="*/ 2 h 146"/>
                  <a:gd name="T18" fmla="*/ 14 w 88"/>
                  <a:gd name="T19" fmla="*/ 16 h 146"/>
                  <a:gd name="T20" fmla="*/ 15 w 88"/>
                  <a:gd name="T21" fmla="*/ 16 h 146"/>
                  <a:gd name="T22" fmla="*/ 29 w 88"/>
                  <a:gd name="T23" fmla="*/ 4 h 146"/>
                  <a:gd name="T24" fmla="*/ 46 w 88"/>
                  <a:gd name="T25" fmla="*/ 0 h 146"/>
                  <a:gd name="T26" fmla="*/ 77 w 88"/>
                  <a:gd name="T27" fmla="*/ 14 h 146"/>
                  <a:gd name="T28" fmla="*/ 88 w 88"/>
                  <a:gd name="T29" fmla="*/ 52 h 146"/>
                  <a:gd name="T30" fmla="*/ 77 w 88"/>
                  <a:gd name="T31" fmla="*/ 90 h 146"/>
                  <a:gd name="T32" fmla="*/ 46 w 88"/>
                  <a:gd name="T33" fmla="*/ 103 h 146"/>
                  <a:gd name="T34" fmla="*/ 44 w 88"/>
                  <a:gd name="T35" fmla="*/ 13 h 146"/>
                  <a:gd name="T36" fmla="*/ 22 w 88"/>
                  <a:gd name="T37" fmla="*/ 21 h 146"/>
                  <a:gd name="T38" fmla="*/ 15 w 88"/>
                  <a:gd name="T39" fmla="*/ 48 h 146"/>
                  <a:gd name="T40" fmla="*/ 15 w 88"/>
                  <a:gd name="T41" fmla="*/ 52 h 146"/>
                  <a:gd name="T42" fmla="*/ 22 w 88"/>
                  <a:gd name="T43" fmla="*/ 82 h 146"/>
                  <a:gd name="T44" fmla="*/ 45 w 88"/>
                  <a:gd name="T45" fmla="*/ 91 h 146"/>
                  <a:gd name="T46" fmla="*/ 65 w 88"/>
                  <a:gd name="T47" fmla="*/ 80 h 146"/>
                  <a:gd name="T48" fmla="*/ 72 w 88"/>
                  <a:gd name="T49" fmla="*/ 51 h 146"/>
                  <a:gd name="T50" fmla="*/ 65 w 88"/>
                  <a:gd name="T51" fmla="*/ 23 h 146"/>
                  <a:gd name="T52" fmla="*/ 44 w 88"/>
                  <a:gd name="T53" fmla="*/ 1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146">
                    <a:moveTo>
                      <a:pt x="46" y="103"/>
                    </a:moveTo>
                    <a:cubicBezTo>
                      <a:pt x="40" y="103"/>
                      <a:pt x="34" y="102"/>
                      <a:pt x="29" y="100"/>
                    </a:cubicBezTo>
                    <a:cubicBezTo>
                      <a:pt x="23" y="97"/>
                      <a:pt x="19" y="94"/>
                      <a:pt x="15" y="89"/>
                    </a:cubicBezTo>
                    <a:cubicBezTo>
                      <a:pt x="14" y="89"/>
                      <a:pt x="14" y="89"/>
                      <a:pt x="14" y="89"/>
                    </a:cubicBezTo>
                    <a:cubicBezTo>
                      <a:pt x="15" y="94"/>
                      <a:pt x="15" y="100"/>
                      <a:pt x="15" y="105"/>
                    </a:cubicBezTo>
                    <a:cubicBezTo>
                      <a:pt x="15" y="146"/>
                      <a:pt x="15" y="146"/>
                      <a:pt x="15" y="146"/>
                    </a:cubicBezTo>
                    <a:cubicBezTo>
                      <a:pt x="0" y="146"/>
                      <a:pt x="0" y="146"/>
                      <a:pt x="0" y="146"/>
                    </a:cubicBezTo>
                    <a:cubicBezTo>
                      <a:pt x="0" y="2"/>
                      <a:pt x="0" y="2"/>
                      <a:pt x="0" y="2"/>
                    </a:cubicBezTo>
                    <a:cubicBezTo>
                      <a:pt x="12" y="2"/>
                      <a:pt x="12" y="2"/>
                      <a:pt x="12" y="2"/>
                    </a:cubicBezTo>
                    <a:cubicBezTo>
                      <a:pt x="14" y="16"/>
                      <a:pt x="14" y="16"/>
                      <a:pt x="14" y="16"/>
                    </a:cubicBezTo>
                    <a:cubicBezTo>
                      <a:pt x="15" y="16"/>
                      <a:pt x="15" y="16"/>
                      <a:pt x="15" y="16"/>
                    </a:cubicBezTo>
                    <a:cubicBezTo>
                      <a:pt x="19" y="10"/>
                      <a:pt x="23" y="6"/>
                      <a:pt x="29" y="4"/>
                    </a:cubicBezTo>
                    <a:cubicBezTo>
                      <a:pt x="34" y="1"/>
                      <a:pt x="40" y="0"/>
                      <a:pt x="46" y="0"/>
                    </a:cubicBezTo>
                    <a:cubicBezTo>
                      <a:pt x="60" y="0"/>
                      <a:pt x="70" y="5"/>
                      <a:pt x="77" y="14"/>
                    </a:cubicBezTo>
                    <a:cubicBezTo>
                      <a:pt x="84" y="23"/>
                      <a:pt x="88" y="35"/>
                      <a:pt x="88" y="52"/>
                    </a:cubicBezTo>
                    <a:cubicBezTo>
                      <a:pt x="88" y="68"/>
                      <a:pt x="84" y="81"/>
                      <a:pt x="77" y="90"/>
                    </a:cubicBezTo>
                    <a:cubicBezTo>
                      <a:pt x="69" y="99"/>
                      <a:pt x="59" y="103"/>
                      <a:pt x="46" y="103"/>
                    </a:cubicBezTo>
                    <a:close/>
                    <a:moveTo>
                      <a:pt x="44" y="13"/>
                    </a:moveTo>
                    <a:cubicBezTo>
                      <a:pt x="34" y="13"/>
                      <a:pt x="27" y="16"/>
                      <a:pt x="22" y="21"/>
                    </a:cubicBezTo>
                    <a:cubicBezTo>
                      <a:pt x="18" y="27"/>
                      <a:pt x="15" y="36"/>
                      <a:pt x="15" y="48"/>
                    </a:cubicBezTo>
                    <a:cubicBezTo>
                      <a:pt x="15" y="52"/>
                      <a:pt x="15" y="52"/>
                      <a:pt x="15" y="52"/>
                    </a:cubicBezTo>
                    <a:cubicBezTo>
                      <a:pt x="15" y="66"/>
                      <a:pt x="17" y="76"/>
                      <a:pt x="22" y="82"/>
                    </a:cubicBezTo>
                    <a:cubicBezTo>
                      <a:pt x="27" y="88"/>
                      <a:pt x="34" y="91"/>
                      <a:pt x="45" y="91"/>
                    </a:cubicBezTo>
                    <a:cubicBezTo>
                      <a:pt x="53" y="91"/>
                      <a:pt x="60" y="87"/>
                      <a:pt x="65" y="80"/>
                    </a:cubicBezTo>
                    <a:cubicBezTo>
                      <a:pt x="70" y="73"/>
                      <a:pt x="72" y="64"/>
                      <a:pt x="72" y="51"/>
                    </a:cubicBezTo>
                    <a:cubicBezTo>
                      <a:pt x="72" y="39"/>
                      <a:pt x="70" y="30"/>
                      <a:pt x="65" y="23"/>
                    </a:cubicBezTo>
                    <a:cubicBezTo>
                      <a:pt x="60" y="16"/>
                      <a:pt x="53" y="13"/>
                      <a:pt x="44"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3"/>
              <p:cNvSpPr>
                <a:spLocks noEditPoints="1"/>
              </p:cNvSpPr>
              <p:nvPr/>
            </p:nvSpPr>
            <p:spPr bwMode="auto">
              <a:xfrm>
                <a:off x="4311744" y="4152080"/>
                <a:ext cx="110452" cy="142401"/>
              </a:xfrm>
              <a:custGeom>
                <a:avLst/>
                <a:gdLst>
                  <a:gd name="T0" fmla="*/ 69 w 80"/>
                  <a:gd name="T1" fmla="*/ 101 h 103"/>
                  <a:gd name="T2" fmla="*/ 66 w 80"/>
                  <a:gd name="T3" fmla="*/ 87 h 103"/>
                  <a:gd name="T4" fmla="*/ 65 w 80"/>
                  <a:gd name="T5" fmla="*/ 87 h 103"/>
                  <a:gd name="T6" fmla="*/ 50 w 80"/>
                  <a:gd name="T7" fmla="*/ 100 h 103"/>
                  <a:gd name="T8" fmla="*/ 31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4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4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1"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7" y="15"/>
                      <a:pt x="51" y="13"/>
                      <a:pt x="44" y="13"/>
                    </a:cubicBezTo>
                    <a:cubicBezTo>
                      <a:pt x="36" y="13"/>
                      <a:pt x="26" y="15"/>
                      <a:pt x="16" y="20"/>
                    </a:cubicBezTo>
                    <a:cubicBezTo>
                      <a:pt x="11" y="9"/>
                      <a:pt x="11" y="9"/>
                      <a:pt x="11" y="9"/>
                    </a:cubicBezTo>
                    <a:cubicBezTo>
                      <a:pt x="16" y="6"/>
                      <a:pt x="21" y="4"/>
                      <a:pt x="27" y="3"/>
                    </a:cubicBezTo>
                    <a:cubicBezTo>
                      <a:pt x="33" y="1"/>
                      <a:pt x="39" y="0"/>
                      <a:pt x="45" y="0"/>
                    </a:cubicBezTo>
                    <a:cubicBezTo>
                      <a:pt x="57" y="0"/>
                      <a:pt x="65" y="3"/>
                      <a:pt x="71" y="8"/>
                    </a:cubicBezTo>
                    <a:cubicBezTo>
                      <a:pt x="77" y="13"/>
                      <a:pt x="80" y="22"/>
                      <a:pt x="80" y="34"/>
                    </a:cubicBezTo>
                    <a:cubicBezTo>
                      <a:pt x="80" y="101"/>
                      <a:pt x="80" y="101"/>
                      <a:pt x="80" y="101"/>
                    </a:cubicBezTo>
                    <a:lnTo>
                      <a:pt x="69" y="101"/>
                    </a:lnTo>
                    <a:close/>
                    <a:moveTo>
                      <a:pt x="34"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8" y="62"/>
                      <a:pt x="16" y="67"/>
                      <a:pt x="16" y="74"/>
                    </a:cubicBezTo>
                    <a:cubicBezTo>
                      <a:pt x="16" y="80"/>
                      <a:pt x="17" y="84"/>
                      <a:pt x="21" y="87"/>
                    </a:cubicBezTo>
                    <a:cubicBezTo>
                      <a:pt x="24" y="89"/>
                      <a:pt x="29"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14"/>
              <p:cNvSpPr>
                <a:spLocks/>
              </p:cNvSpPr>
              <p:nvPr/>
            </p:nvSpPr>
            <p:spPr bwMode="auto">
              <a:xfrm>
                <a:off x="4451407" y="4152080"/>
                <a:ext cx="97673" cy="142401"/>
              </a:xfrm>
              <a:custGeom>
                <a:avLst/>
                <a:gdLst>
                  <a:gd name="T0" fmla="*/ 45 w 71"/>
                  <a:gd name="T1" fmla="*/ 103 h 103"/>
                  <a:gd name="T2" fmla="*/ 11 w 71"/>
                  <a:gd name="T3" fmla="*/ 90 h 103"/>
                  <a:gd name="T4" fmla="*/ 0 w 71"/>
                  <a:gd name="T5" fmla="*/ 52 h 103"/>
                  <a:gd name="T6" fmla="*/ 12 w 71"/>
                  <a:gd name="T7" fmla="*/ 14 h 103"/>
                  <a:gd name="T8" fmla="*/ 46 w 71"/>
                  <a:gd name="T9" fmla="*/ 0 h 103"/>
                  <a:gd name="T10" fmla="*/ 60 w 71"/>
                  <a:gd name="T11" fmla="*/ 2 h 103"/>
                  <a:gd name="T12" fmla="*/ 71 w 71"/>
                  <a:gd name="T13" fmla="*/ 5 h 103"/>
                  <a:gd name="T14" fmla="*/ 67 w 71"/>
                  <a:gd name="T15" fmla="*/ 18 h 103"/>
                  <a:gd name="T16" fmla="*/ 56 w 71"/>
                  <a:gd name="T17" fmla="*/ 15 h 103"/>
                  <a:gd name="T18" fmla="*/ 45 w 71"/>
                  <a:gd name="T19" fmla="*/ 13 h 103"/>
                  <a:gd name="T20" fmla="*/ 15 w 71"/>
                  <a:gd name="T21" fmla="*/ 52 h 103"/>
                  <a:gd name="T22" fmla="*/ 23 w 71"/>
                  <a:gd name="T23" fmla="*/ 80 h 103"/>
                  <a:gd name="T24" fmla="*/ 44 w 71"/>
                  <a:gd name="T25" fmla="*/ 90 h 103"/>
                  <a:gd name="T26" fmla="*/ 70 w 71"/>
                  <a:gd name="T27" fmla="*/ 85 h 103"/>
                  <a:gd name="T28" fmla="*/ 70 w 71"/>
                  <a:gd name="T29" fmla="*/ 98 h 103"/>
                  <a:gd name="T30" fmla="*/ 45 w 71"/>
                  <a:gd name="T3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03">
                    <a:moveTo>
                      <a:pt x="45" y="103"/>
                    </a:moveTo>
                    <a:cubicBezTo>
                      <a:pt x="30" y="103"/>
                      <a:pt x="19" y="99"/>
                      <a:pt x="11" y="90"/>
                    </a:cubicBezTo>
                    <a:cubicBezTo>
                      <a:pt x="3" y="81"/>
                      <a:pt x="0" y="69"/>
                      <a:pt x="0" y="52"/>
                    </a:cubicBezTo>
                    <a:cubicBezTo>
                      <a:pt x="0" y="36"/>
                      <a:pt x="4" y="23"/>
                      <a:pt x="12" y="14"/>
                    </a:cubicBezTo>
                    <a:cubicBezTo>
                      <a:pt x="20" y="5"/>
                      <a:pt x="31" y="0"/>
                      <a:pt x="46" y="0"/>
                    </a:cubicBezTo>
                    <a:cubicBezTo>
                      <a:pt x="51" y="0"/>
                      <a:pt x="55" y="1"/>
                      <a:pt x="60" y="2"/>
                    </a:cubicBezTo>
                    <a:cubicBezTo>
                      <a:pt x="65" y="3"/>
                      <a:pt x="69" y="4"/>
                      <a:pt x="71" y="5"/>
                    </a:cubicBezTo>
                    <a:cubicBezTo>
                      <a:pt x="67" y="18"/>
                      <a:pt x="67" y="18"/>
                      <a:pt x="67" y="18"/>
                    </a:cubicBezTo>
                    <a:cubicBezTo>
                      <a:pt x="63" y="17"/>
                      <a:pt x="60" y="16"/>
                      <a:pt x="56" y="15"/>
                    </a:cubicBezTo>
                    <a:cubicBezTo>
                      <a:pt x="52" y="14"/>
                      <a:pt x="48" y="13"/>
                      <a:pt x="45" y="13"/>
                    </a:cubicBezTo>
                    <a:cubicBezTo>
                      <a:pt x="25" y="13"/>
                      <a:pt x="15" y="26"/>
                      <a:pt x="15" y="52"/>
                    </a:cubicBezTo>
                    <a:cubicBezTo>
                      <a:pt x="15" y="64"/>
                      <a:pt x="18" y="74"/>
                      <a:pt x="23" y="80"/>
                    </a:cubicBezTo>
                    <a:cubicBezTo>
                      <a:pt x="27" y="87"/>
                      <a:pt x="35" y="90"/>
                      <a:pt x="44" y="90"/>
                    </a:cubicBezTo>
                    <a:cubicBezTo>
                      <a:pt x="53" y="90"/>
                      <a:pt x="61" y="88"/>
                      <a:pt x="70" y="85"/>
                    </a:cubicBezTo>
                    <a:cubicBezTo>
                      <a:pt x="70" y="98"/>
                      <a:pt x="70" y="98"/>
                      <a:pt x="70" y="98"/>
                    </a:cubicBezTo>
                    <a:cubicBezTo>
                      <a:pt x="63" y="102"/>
                      <a:pt x="55" y="103"/>
                      <a:pt x="45" y="1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15"/>
              <p:cNvSpPr>
                <a:spLocks/>
              </p:cNvSpPr>
              <p:nvPr/>
            </p:nvSpPr>
            <p:spPr bwMode="auto">
              <a:xfrm>
                <a:off x="4556382" y="4122869"/>
                <a:ext cx="82155" cy="171612"/>
              </a:xfrm>
              <a:custGeom>
                <a:avLst/>
                <a:gdLst>
                  <a:gd name="T0" fmla="*/ 45 w 59"/>
                  <a:gd name="T1" fmla="*/ 112 h 124"/>
                  <a:gd name="T2" fmla="*/ 53 w 59"/>
                  <a:gd name="T3" fmla="*/ 111 h 124"/>
                  <a:gd name="T4" fmla="*/ 59 w 59"/>
                  <a:gd name="T5" fmla="*/ 110 h 124"/>
                  <a:gd name="T6" fmla="*/ 59 w 59"/>
                  <a:gd name="T7" fmla="*/ 122 h 124"/>
                  <a:gd name="T8" fmla="*/ 51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0 w 59"/>
                  <a:gd name="T23" fmla="*/ 0 h 124"/>
                  <a:gd name="T24" fmla="*/ 29 w 59"/>
                  <a:gd name="T25" fmla="*/ 0 h 124"/>
                  <a:gd name="T26" fmla="*/ 29 w 59"/>
                  <a:gd name="T27" fmla="*/ 23 h 124"/>
                  <a:gd name="T28" fmla="*/ 58 w 59"/>
                  <a:gd name="T29" fmla="*/ 23 h 124"/>
                  <a:gd name="T30" fmla="*/ 58 w 59"/>
                  <a:gd name="T31" fmla="*/ 35 h 124"/>
                  <a:gd name="T32" fmla="*/ 29 w 59"/>
                  <a:gd name="T33" fmla="*/ 35 h 124"/>
                  <a:gd name="T34" fmla="*/ 29 w 59"/>
                  <a:gd name="T35" fmla="*/ 93 h 124"/>
                  <a:gd name="T36" fmla="*/ 33 w 59"/>
                  <a:gd name="T37" fmla="*/ 107 h 124"/>
                  <a:gd name="T38" fmla="*/ 45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5" y="112"/>
                    </a:moveTo>
                    <a:cubicBezTo>
                      <a:pt x="48" y="112"/>
                      <a:pt x="50" y="112"/>
                      <a:pt x="53" y="111"/>
                    </a:cubicBezTo>
                    <a:cubicBezTo>
                      <a:pt x="55" y="111"/>
                      <a:pt x="57" y="110"/>
                      <a:pt x="59" y="110"/>
                    </a:cubicBezTo>
                    <a:cubicBezTo>
                      <a:pt x="59" y="122"/>
                      <a:pt x="59" y="122"/>
                      <a:pt x="59" y="122"/>
                    </a:cubicBezTo>
                    <a:cubicBezTo>
                      <a:pt x="57" y="122"/>
                      <a:pt x="55" y="123"/>
                      <a:pt x="51" y="124"/>
                    </a:cubicBezTo>
                    <a:cubicBezTo>
                      <a:pt x="48" y="124"/>
                      <a:pt x="45" y="124"/>
                      <a:pt x="43" y="124"/>
                    </a:cubicBezTo>
                    <a:cubicBezTo>
                      <a:pt x="24"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0" y="0"/>
                      <a:pt x="20" y="0"/>
                      <a:pt x="20" y="0"/>
                    </a:cubicBezTo>
                    <a:cubicBezTo>
                      <a:pt x="29" y="0"/>
                      <a:pt x="29" y="0"/>
                      <a:pt x="29" y="0"/>
                    </a:cubicBezTo>
                    <a:cubicBezTo>
                      <a:pt x="29" y="23"/>
                      <a:pt x="29" y="23"/>
                      <a:pt x="29" y="23"/>
                    </a:cubicBezTo>
                    <a:cubicBezTo>
                      <a:pt x="58" y="23"/>
                      <a:pt x="58" y="23"/>
                      <a:pt x="58" y="23"/>
                    </a:cubicBezTo>
                    <a:cubicBezTo>
                      <a:pt x="58" y="35"/>
                      <a:pt x="58" y="35"/>
                      <a:pt x="58" y="35"/>
                    </a:cubicBezTo>
                    <a:cubicBezTo>
                      <a:pt x="29" y="35"/>
                      <a:pt x="29" y="35"/>
                      <a:pt x="29" y="35"/>
                    </a:cubicBezTo>
                    <a:cubicBezTo>
                      <a:pt x="29" y="93"/>
                      <a:pt x="29" y="93"/>
                      <a:pt x="29" y="93"/>
                    </a:cubicBezTo>
                    <a:cubicBezTo>
                      <a:pt x="29" y="99"/>
                      <a:pt x="31" y="104"/>
                      <a:pt x="33" y="107"/>
                    </a:cubicBezTo>
                    <a:cubicBezTo>
                      <a:pt x="36" y="110"/>
                      <a:pt x="40" y="112"/>
                      <a:pt x="45"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16"/>
              <p:cNvSpPr>
                <a:spLocks/>
              </p:cNvSpPr>
              <p:nvPr/>
            </p:nvSpPr>
            <p:spPr bwMode="auto">
              <a:xfrm>
                <a:off x="4700609" y="4122869"/>
                <a:ext cx="81242"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4 w 59"/>
                  <a:gd name="T11" fmla="*/ 124 h 124"/>
                  <a:gd name="T12" fmla="*/ 15 w 59"/>
                  <a:gd name="T13" fmla="*/ 94 h 124"/>
                  <a:gd name="T14" fmla="*/ 15 w 59"/>
                  <a:gd name="T15" fmla="*/ 35 h 124"/>
                  <a:gd name="T16" fmla="*/ 0 w 59"/>
                  <a:gd name="T17" fmla="*/ 35 h 124"/>
                  <a:gd name="T18" fmla="*/ 0 w 59"/>
                  <a:gd name="T19" fmla="*/ 27 h 124"/>
                  <a:gd name="T20" fmla="*/ 15 w 59"/>
                  <a:gd name="T21" fmla="*/ 21 h 124"/>
                  <a:gd name="T22" fmla="*/ 21 w 59"/>
                  <a:gd name="T23" fmla="*/ 0 h 124"/>
                  <a:gd name="T24" fmla="*/ 30 w 59"/>
                  <a:gd name="T25" fmla="*/ 0 h 124"/>
                  <a:gd name="T26" fmla="*/ 30 w 59"/>
                  <a:gd name="T27" fmla="*/ 23 h 124"/>
                  <a:gd name="T28" fmla="*/ 59 w 59"/>
                  <a:gd name="T29" fmla="*/ 23 h 124"/>
                  <a:gd name="T30" fmla="*/ 59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4" y="124"/>
                    </a:cubicBezTo>
                    <a:cubicBezTo>
                      <a:pt x="24" y="124"/>
                      <a:pt x="15" y="114"/>
                      <a:pt x="15" y="94"/>
                    </a:cubicBezTo>
                    <a:cubicBezTo>
                      <a:pt x="15" y="35"/>
                      <a:pt x="15" y="35"/>
                      <a:pt x="15" y="35"/>
                    </a:cubicBezTo>
                    <a:cubicBezTo>
                      <a:pt x="0" y="35"/>
                      <a:pt x="0" y="35"/>
                      <a:pt x="0" y="35"/>
                    </a:cubicBezTo>
                    <a:cubicBezTo>
                      <a:pt x="0" y="27"/>
                      <a:pt x="0" y="27"/>
                      <a:pt x="0" y="27"/>
                    </a:cubicBezTo>
                    <a:cubicBezTo>
                      <a:pt x="15" y="21"/>
                      <a:pt x="15" y="21"/>
                      <a:pt x="15" y="21"/>
                    </a:cubicBezTo>
                    <a:cubicBezTo>
                      <a:pt x="21" y="0"/>
                      <a:pt x="21" y="0"/>
                      <a:pt x="21" y="0"/>
                    </a:cubicBezTo>
                    <a:cubicBezTo>
                      <a:pt x="30" y="0"/>
                      <a:pt x="30" y="0"/>
                      <a:pt x="30" y="0"/>
                    </a:cubicBezTo>
                    <a:cubicBezTo>
                      <a:pt x="30" y="23"/>
                      <a:pt x="30" y="23"/>
                      <a:pt x="30" y="23"/>
                    </a:cubicBezTo>
                    <a:cubicBezTo>
                      <a:pt x="59" y="23"/>
                      <a:pt x="59" y="23"/>
                      <a:pt x="59" y="23"/>
                    </a:cubicBezTo>
                    <a:cubicBezTo>
                      <a:pt x="59" y="35"/>
                      <a:pt x="59" y="35"/>
                      <a:pt x="59"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17"/>
              <p:cNvSpPr>
                <a:spLocks/>
              </p:cNvSpPr>
              <p:nvPr/>
            </p:nvSpPr>
            <p:spPr bwMode="auto">
              <a:xfrm>
                <a:off x="4803759" y="4096397"/>
                <a:ext cx="115017" cy="195346"/>
              </a:xfrm>
              <a:custGeom>
                <a:avLst/>
                <a:gdLst>
                  <a:gd name="T0" fmla="*/ 68 w 83"/>
                  <a:gd name="T1" fmla="*/ 141 h 141"/>
                  <a:gd name="T2" fmla="*/ 68 w 83"/>
                  <a:gd name="T3" fmla="*/ 77 h 141"/>
                  <a:gd name="T4" fmla="*/ 62 w 83"/>
                  <a:gd name="T5" fmla="*/ 59 h 141"/>
                  <a:gd name="T6" fmla="*/ 45 w 83"/>
                  <a:gd name="T7" fmla="*/ 53 h 141"/>
                  <a:gd name="T8" fmla="*/ 22 w 83"/>
                  <a:gd name="T9" fmla="*/ 61 h 141"/>
                  <a:gd name="T10" fmla="*/ 15 w 83"/>
                  <a:gd name="T11" fmla="*/ 89 h 141"/>
                  <a:gd name="T12" fmla="*/ 15 w 83"/>
                  <a:gd name="T13" fmla="*/ 141 h 141"/>
                  <a:gd name="T14" fmla="*/ 0 w 83"/>
                  <a:gd name="T15" fmla="*/ 141 h 141"/>
                  <a:gd name="T16" fmla="*/ 0 w 83"/>
                  <a:gd name="T17" fmla="*/ 0 h 141"/>
                  <a:gd name="T18" fmla="*/ 15 w 83"/>
                  <a:gd name="T19" fmla="*/ 0 h 141"/>
                  <a:gd name="T20" fmla="*/ 15 w 83"/>
                  <a:gd name="T21" fmla="*/ 43 h 141"/>
                  <a:gd name="T22" fmla="*/ 14 w 83"/>
                  <a:gd name="T23" fmla="*/ 56 h 141"/>
                  <a:gd name="T24" fmla="*/ 15 w 83"/>
                  <a:gd name="T25" fmla="*/ 56 h 141"/>
                  <a:gd name="T26" fmla="*/ 27 w 83"/>
                  <a:gd name="T27" fmla="*/ 44 h 141"/>
                  <a:gd name="T28" fmla="*/ 46 w 83"/>
                  <a:gd name="T29" fmla="*/ 40 h 141"/>
                  <a:gd name="T30" fmla="*/ 74 w 83"/>
                  <a:gd name="T31" fmla="*/ 49 h 141"/>
                  <a:gd name="T32" fmla="*/ 83 w 83"/>
                  <a:gd name="T33" fmla="*/ 77 h 141"/>
                  <a:gd name="T34" fmla="*/ 83 w 83"/>
                  <a:gd name="T35" fmla="*/ 141 h 141"/>
                  <a:gd name="T36" fmla="*/ 68 w 83"/>
                  <a:gd name="T3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1">
                    <a:moveTo>
                      <a:pt x="68" y="141"/>
                    </a:moveTo>
                    <a:cubicBezTo>
                      <a:pt x="68" y="77"/>
                      <a:pt x="68" y="77"/>
                      <a:pt x="68" y="77"/>
                    </a:cubicBezTo>
                    <a:cubicBezTo>
                      <a:pt x="68" y="69"/>
                      <a:pt x="66" y="63"/>
                      <a:pt x="62" y="59"/>
                    </a:cubicBezTo>
                    <a:cubicBezTo>
                      <a:pt x="58" y="55"/>
                      <a:pt x="53" y="53"/>
                      <a:pt x="45" y="53"/>
                    </a:cubicBezTo>
                    <a:cubicBezTo>
                      <a:pt x="34" y="53"/>
                      <a:pt x="27" y="56"/>
                      <a:pt x="22" y="61"/>
                    </a:cubicBezTo>
                    <a:cubicBezTo>
                      <a:pt x="17" y="67"/>
                      <a:pt x="15" y="76"/>
                      <a:pt x="15" y="89"/>
                    </a:cubicBezTo>
                    <a:cubicBezTo>
                      <a:pt x="15" y="141"/>
                      <a:pt x="15" y="141"/>
                      <a:pt x="15" y="141"/>
                    </a:cubicBezTo>
                    <a:cubicBezTo>
                      <a:pt x="0" y="141"/>
                      <a:pt x="0" y="141"/>
                      <a:pt x="0" y="141"/>
                    </a:cubicBezTo>
                    <a:cubicBezTo>
                      <a:pt x="0" y="0"/>
                      <a:pt x="0" y="0"/>
                      <a:pt x="0" y="0"/>
                    </a:cubicBezTo>
                    <a:cubicBezTo>
                      <a:pt x="15" y="0"/>
                      <a:pt x="15" y="0"/>
                      <a:pt x="15" y="0"/>
                    </a:cubicBezTo>
                    <a:cubicBezTo>
                      <a:pt x="15" y="43"/>
                      <a:pt x="15" y="43"/>
                      <a:pt x="15" y="43"/>
                    </a:cubicBezTo>
                    <a:cubicBezTo>
                      <a:pt x="15" y="48"/>
                      <a:pt x="14" y="52"/>
                      <a:pt x="14" y="56"/>
                    </a:cubicBezTo>
                    <a:cubicBezTo>
                      <a:pt x="15" y="56"/>
                      <a:pt x="15" y="56"/>
                      <a:pt x="15" y="56"/>
                    </a:cubicBezTo>
                    <a:cubicBezTo>
                      <a:pt x="18" y="51"/>
                      <a:pt x="22" y="47"/>
                      <a:pt x="27" y="44"/>
                    </a:cubicBezTo>
                    <a:cubicBezTo>
                      <a:pt x="33" y="42"/>
                      <a:pt x="39" y="40"/>
                      <a:pt x="46" y="40"/>
                    </a:cubicBezTo>
                    <a:cubicBezTo>
                      <a:pt x="58" y="40"/>
                      <a:pt x="67" y="43"/>
                      <a:pt x="74" y="49"/>
                    </a:cubicBezTo>
                    <a:cubicBezTo>
                      <a:pt x="80" y="55"/>
                      <a:pt x="83" y="64"/>
                      <a:pt x="83" y="77"/>
                    </a:cubicBezTo>
                    <a:cubicBezTo>
                      <a:pt x="83" y="141"/>
                      <a:pt x="83" y="141"/>
                      <a:pt x="83" y="141"/>
                    </a:cubicBezTo>
                    <a:lnTo>
                      <a:pt x="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18"/>
              <p:cNvSpPr>
                <a:spLocks noEditPoints="1"/>
              </p:cNvSpPr>
              <p:nvPr/>
            </p:nvSpPr>
            <p:spPr bwMode="auto">
              <a:xfrm>
                <a:off x="4945247" y="4152080"/>
                <a:ext cx="109540" cy="142401"/>
              </a:xfrm>
              <a:custGeom>
                <a:avLst/>
                <a:gdLst>
                  <a:gd name="T0" fmla="*/ 68 w 79"/>
                  <a:gd name="T1" fmla="*/ 101 h 103"/>
                  <a:gd name="T2" fmla="*/ 65 w 79"/>
                  <a:gd name="T3" fmla="*/ 87 h 103"/>
                  <a:gd name="T4" fmla="*/ 64 w 79"/>
                  <a:gd name="T5" fmla="*/ 87 h 103"/>
                  <a:gd name="T6" fmla="*/ 50 w 79"/>
                  <a:gd name="T7" fmla="*/ 100 h 103"/>
                  <a:gd name="T8" fmla="*/ 31 w 79"/>
                  <a:gd name="T9" fmla="*/ 103 h 103"/>
                  <a:gd name="T10" fmla="*/ 8 w 79"/>
                  <a:gd name="T11" fmla="*/ 96 h 103"/>
                  <a:gd name="T12" fmla="*/ 0 w 79"/>
                  <a:gd name="T13" fmla="*/ 74 h 103"/>
                  <a:gd name="T14" fmla="*/ 48 w 79"/>
                  <a:gd name="T15" fmla="*/ 42 h 103"/>
                  <a:gd name="T16" fmla="*/ 65 w 79"/>
                  <a:gd name="T17" fmla="*/ 42 h 103"/>
                  <a:gd name="T18" fmla="*/ 65 w 79"/>
                  <a:gd name="T19" fmla="*/ 36 h 103"/>
                  <a:gd name="T20" fmla="*/ 60 w 79"/>
                  <a:gd name="T21" fmla="*/ 18 h 103"/>
                  <a:gd name="T22" fmla="*/ 43 w 79"/>
                  <a:gd name="T23" fmla="*/ 13 h 103"/>
                  <a:gd name="T24" fmla="*/ 15 w 79"/>
                  <a:gd name="T25" fmla="*/ 20 h 103"/>
                  <a:gd name="T26" fmla="*/ 11 w 79"/>
                  <a:gd name="T27" fmla="*/ 9 h 103"/>
                  <a:gd name="T28" fmla="*/ 27 w 79"/>
                  <a:gd name="T29" fmla="*/ 3 h 103"/>
                  <a:gd name="T30" fmla="*/ 44 w 79"/>
                  <a:gd name="T31" fmla="*/ 0 h 103"/>
                  <a:gd name="T32" fmla="*/ 71 w 79"/>
                  <a:gd name="T33" fmla="*/ 8 h 103"/>
                  <a:gd name="T34" fmla="*/ 79 w 79"/>
                  <a:gd name="T35" fmla="*/ 34 h 103"/>
                  <a:gd name="T36" fmla="*/ 79 w 79"/>
                  <a:gd name="T37" fmla="*/ 101 h 103"/>
                  <a:gd name="T38" fmla="*/ 68 w 79"/>
                  <a:gd name="T39" fmla="*/ 101 h 103"/>
                  <a:gd name="T40" fmla="*/ 34 w 79"/>
                  <a:gd name="T41" fmla="*/ 91 h 103"/>
                  <a:gd name="T42" fmla="*/ 56 w 79"/>
                  <a:gd name="T43" fmla="*/ 83 h 103"/>
                  <a:gd name="T44" fmla="*/ 64 w 79"/>
                  <a:gd name="T45" fmla="*/ 62 h 103"/>
                  <a:gd name="T46" fmla="*/ 64 w 79"/>
                  <a:gd name="T47" fmla="*/ 53 h 103"/>
                  <a:gd name="T48" fmla="*/ 49 w 79"/>
                  <a:gd name="T49" fmla="*/ 53 h 103"/>
                  <a:gd name="T50" fmla="*/ 23 w 79"/>
                  <a:gd name="T51" fmla="*/ 59 h 103"/>
                  <a:gd name="T52" fmla="*/ 15 w 79"/>
                  <a:gd name="T53" fmla="*/ 74 h 103"/>
                  <a:gd name="T54" fmla="*/ 20 w 79"/>
                  <a:gd name="T55" fmla="*/ 87 h 103"/>
                  <a:gd name="T56" fmla="*/ 34 w 79"/>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103">
                    <a:moveTo>
                      <a:pt x="68" y="101"/>
                    </a:moveTo>
                    <a:cubicBezTo>
                      <a:pt x="65" y="87"/>
                      <a:pt x="65" y="87"/>
                      <a:pt x="65" y="87"/>
                    </a:cubicBezTo>
                    <a:cubicBezTo>
                      <a:pt x="64" y="87"/>
                      <a:pt x="64" y="87"/>
                      <a:pt x="64" y="87"/>
                    </a:cubicBezTo>
                    <a:cubicBezTo>
                      <a:pt x="60" y="94"/>
                      <a:pt x="55" y="98"/>
                      <a:pt x="50" y="100"/>
                    </a:cubicBezTo>
                    <a:cubicBezTo>
                      <a:pt x="45" y="102"/>
                      <a:pt x="39" y="103"/>
                      <a:pt x="31" y="103"/>
                    </a:cubicBezTo>
                    <a:cubicBezTo>
                      <a:pt x="21" y="103"/>
                      <a:pt x="14" y="101"/>
                      <a:pt x="8" y="96"/>
                    </a:cubicBezTo>
                    <a:cubicBezTo>
                      <a:pt x="2"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6" y="15"/>
                      <a:pt x="51" y="13"/>
                      <a:pt x="43" y="13"/>
                    </a:cubicBezTo>
                    <a:cubicBezTo>
                      <a:pt x="35" y="13"/>
                      <a:pt x="26" y="15"/>
                      <a:pt x="15" y="20"/>
                    </a:cubicBezTo>
                    <a:cubicBezTo>
                      <a:pt x="11" y="9"/>
                      <a:pt x="11" y="9"/>
                      <a:pt x="11" y="9"/>
                    </a:cubicBezTo>
                    <a:cubicBezTo>
                      <a:pt x="16" y="6"/>
                      <a:pt x="21" y="4"/>
                      <a:pt x="27" y="3"/>
                    </a:cubicBezTo>
                    <a:cubicBezTo>
                      <a:pt x="33" y="1"/>
                      <a:pt x="39" y="0"/>
                      <a:pt x="44" y="0"/>
                    </a:cubicBezTo>
                    <a:cubicBezTo>
                      <a:pt x="56" y="0"/>
                      <a:pt x="65" y="3"/>
                      <a:pt x="71" y="8"/>
                    </a:cubicBezTo>
                    <a:cubicBezTo>
                      <a:pt x="76" y="13"/>
                      <a:pt x="79" y="22"/>
                      <a:pt x="79" y="34"/>
                    </a:cubicBezTo>
                    <a:cubicBezTo>
                      <a:pt x="79" y="101"/>
                      <a:pt x="79" y="101"/>
                      <a:pt x="79" y="101"/>
                    </a:cubicBezTo>
                    <a:lnTo>
                      <a:pt x="68" y="101"/>
                    </a:lnTo>
                    <a:close/>
                    <a:moveTo>
                      <a:pt x="34" y="91"/>
                    </a:moveTo>
                    <a:cubicBezTo>
                      <a:pt x="44" y="91"/>
                      <a:pt x="51" y="88"/>
                      <a:pt x="56" y="83"/>
                    </a:cubicBezTo>
                    <a:cubicBezTo>
                      <a:pt x="62" y="78"/>
                      <a:pt x="64" y="71"/>
                      <a:pt x="64" y="62"/>
                    </a:cubicBezTo>
                    <a:cubicBezTo>
                      <a:pt x="64" y="53"/>
                      <a:pt x="64" y="53"/>
                      <a:pt x="64" y="53"/>
                    </a:cubicBezTo>
                    <a:cubicBezTo>
                      <a:pt x="49" y="53"/>
                      <a:pt x="49" y="53"/>
                      <a:pt x="49" y="53"/>
                    </a:cubicBezTo>
                    <a:cubicBezTo>
                      <a:pt x="37" y="54"/>
                      <a:pt x="29" y="55"/>
                      <a:pt x="23" y="59"/>
                    </a:cubicBezTo>
                    <a:cubicBezTo>
                      <a:pt x="18" y="62"/>
                      <a:pt x="15" y="67"/>
                      <a:pt x="15" y="74"/>
                    </a:cubicBezTo>
                    <a:cubicBezTo>
                      <a:pt x="15" y="80"/>
                      <a:pt x="17" y="84"/>
                      <a:pt x="20" y="87"/>
                    </a:cubicBezTo>
                    <a:cubicBezTo>
                      <a:pt x="24" y="89"/>
                      <a:pt x="28"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819"/>
              <p:cNvSpPr>
                <a:spLocks/>
              </p:cNvSpPr>
              <p:nvPr/>
            </p:nvSpPr>
            <p:spPr bwMode="auto">
              <a:xfrm>
                <a:off x="5073956" y="4122869"/>
                <a:ext cx="82155" cy="171612"/>
              </a:xfrm>
              <a:custGeom>
                <a:avLst/>
                <a:gdLst>
                  <a:gd name="T0" fmla="*/ 45 w 59"/>
                  <a:gd name="T1" fmla="*/ 112 h 124"/>
                  <a:gd name="T2" fmla="*/ 53 w 59"/>
                  <a:gd name="T3" fmla="*/ 111 h 124"/>
                  <a:gd name="T4" fmla="*/ 59 w 59"/>
                  <a:gd name="T5" fmla="*/ 110 h 124"/>
                  <a:gd name="T6" fmla="*/ 59 w 59"/>
                  <a:gd name="T7" fmla="*/ 122 h 124"/>
                  <a:gd name="T8" fmla="*/ 51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0 w 59"/>
                  <a:gd name="T23" fmla="*/ 0 h 124"/>
                  <a:gd name="T24" fmla="*/ 29 w 59"/>
                  <a:gd name="T25" fmla="*/ 0 h 124"/>
                  <a:gd name="T26" fmla="*/ 29 w 59"/>
                  <a:gd name="T27" fmla="*/ 23 h 124"/>
                  <a:gd name="T28" fmla="*/ 58 w 59"/>
                  <a:gd name="T29" fmla="*/ 23 h 124"/>
                  <a:gd name="T30" fmla="*/ 58 w 59"/>
                  <a:gd name="T31" fmla="*/ 35 h 124"/>
                  <a:gd name="T32" fmla="*/ 29 w 59"/>
                  <a:gd name="T33" fmla="*/ 35 h 124"/>
                  <a:gd name="T34" fmla="*/ 29 w 59"/>
                  <a:gd name="T35" fmla="*/ 93 h 124"/>
                  <a:gd name="T36" fmla="*/ 33 w 59"/>
                  <a:gd name="T37" fmla="*/ 107 h 124"/>
                  <a:gd name="T38" fmla="*/ 45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5" y="112"/>
                    </a:moveTo>
                    <a:cubicBezTo>
                      <a:pt x="48" y="112"/>
                      <a:pt x="50" y="112"/>
                      <a:pt x="53" y="111"/>
                    </a:cubicBezTo>
                    <a:cubicBezTo>
                      <a:pt x="55" y="111"/>
                      <a:pt x="57" y="110"/>
                      <a:pt x="59" y="110"/>
                    </a:cubicBezTo>
                    <a:cubicBezTo>
                      <a:pt x="59" y="122"/>
                      <a:pt x="59" y="122"/>
                      <a:pt x="59" y="122"/>
                    </a:cubicBezTo>
                    <a:cubicBezTo>
                      <a:pt x="57" y="122"/>
                      <a:pt x="54" y="123"/>
                      <a:pt x="51" y="124"/>
                    </a:cubicBezTo>
                    <a:cubicBezTo>
                      <a:pt x="48" y="124"/>
                      <a:pt x="45" y="124"/>
                      <a:pt x="43" y="124"/>
                    </a:cubicBezTo>
                    <a:cubicBezTo>
                      <a:pt x="23"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0" y="0"/>
                      <a:pt x="20" y="0"/>
                      <a:pt x="20" y="0"/>
                    </a:cubicBezTo>
                    <a:cubicBezTo>
                      <a:pt x="29" y="0"/>
                      <a:pt x="29" y="0"/>
                      <a:pt x="29" y="0"/>
                    </a:cubicBezTo>
                    <a:cubicBezTo>
                      <a:pt x="29" y="23"/>
                      <a:pt x="29" y="23"/>
                      <a:pt x="29" y="23"/>
                    </a:cubicBezTo>
                    <a:cubicBezTo>
                      <a:pt x="58" y="23"/>
                      <a:pt x="58" y="23"/>
                      <a:pt x="58" y="23"/>
                    </a:cubicBezTo>
                    <a:cubicBezTo>
                      <a:pt x="58" y="35"/>
                      <a:pt x="58" y="35"/>
                      <a:pt x="58" y="35"/>
                    </a:cubicBezTo>
                    <a:cubicBezTo>
                      <a:pt x="29" y="35"/>
                      <a:pt x="29" y="35"/>
                      <a:pt x="29" y="35"/>
                    </a:cubicBezTo>
                    <a:cubicBezTo>
                      <a:pt x="29" y="93"/>
                      <a:pt x="29" y="93"/>
                      <a:pt x="29" y="93"/>
                    </a:cubicBezTo>
                    <a:cubicBezTo>
                      <a:pt x="29" y="99"/>
                      <a:pt x="30" y="104"/>
                      <a:pt x="33" y="107"/>
                    </a:cubicBezTo>
                    <a:cubicBezTo>
                      <a:pt x="36" y="110"/>
                      <a:pt x="40" y="112"/>
                      <a:pt x="45"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820"/>
              <p:cNvSpPr>
                <a:spLocks/>
              </p:cNvSpPr>
              <p:nvPr/>
            </p:nvSpPr>
            <p:spPr bwMode="auto">
              <a:xfrm>
                <a:off x="5235527" y="4152080"/>
                <a:ext cx="197171" cy="139663"/>
              </a:xfrm>
              <a:custGeom>
                <a:avLst/>
                <a:gdLst>
                  <a:gd name="T0" fmla="*/ 127 w 142"/>
                  <a:gd name="T1" fmla="*/ 101 h 101"/>
                  <a:gd name="T2" fmla="*/ 127 w 142"/>
                  <a:gd name="T3" fmla="*/ 37 h 101"/>
                  <a:gd name="T4" fmla="*/ 122 w 142"/>
                  <a:gd name="T5" fmla="*/ 19 h 101"/>
                  <a:gd name="T6" fmla="*/ 106 w 142"/>
                  <a:gd name="T7" fmla="*/ 13 h 101"/>
                  <a:gd name="T8" fmla="*/ 86 w 142"/>
                  <a:gd name="T9" fmla="*/ 21 h 101"/>
                  <a:gd name="T10" fmla="*/ 79 w 142"/>
                  <a:gd name="T11" fmla="*/ 46 h 101"/>
                  <a:gd name="T12" fmla="*/ 79 w 142"/>
                  <a:gd name="T13" fmla="*/ 101 h 101"/>
                  <a:gd name="T14" fmla="*/ 64 w 142"/>
                  <a:gd name="T15" fmla="*/ 101 h 101"/>
                  <a:gd name="T16" fmla="*/ 64 w 142"/>
                  <a:gd name="T17" fmla="*/ 37 h 101"/>
                  <a:gd name="T18" fmla="*/ 59 w 142"/>
                  <a:gd name="T19" fmla="*/ 19 h 101"/>
                  <a:gd name="T20" fmla="*/ 43 w 142"/>
                  <a:gd name="T21" fmla="*/ 13 h 101"/>
                  <a:gd name="T22" fmla="*/ 22 w 142"/>
                  <a:gd name="T23" fmla="*/ 21 h 101"/>
                  <a:gd name="T24" fmla="*/ 15 w 142"/>
                  <a:gd name="T25" fmla="*/ 49 h 101"/>
                  <a:gd name="T26" fmla="*/ 15 w 142"/>
                  <a:gd name="T27" fmla="*/ 101 h 101"/>
                  <a:gd name="T28" fmla="*/ 0 w 142"/>
                  <a:gd name="T29" fmla="*/ 101 h 101"/>
                  <a:gd name="T30" fmla="*/ 0 w 142"/>
                  <a:gd name="T31" fmla="*/ 2 h 101"/>
                  <a:gd name="T32" fmla="*/ 13 w 142"/>
                  <a:gd name="T33" fmla="*/ 2 h 101"/>
                  <a:gd name="T34" fmla="*/ 15 w 142"/>
                  <a:gd name="T35" fmla="*/ 16 h 101"/>
                  <a:gd name="T36" fmla="*/ 16 w 142"/>
                  <a:gd name="T37" fmla="*/ 16 h 101"/>
                  <a:gd name="T38" fmla="*/ 28 w 142"/>
                  <a:gd name="T39" fmla="*/ 4 h 101"/>
                  <a:gd name="T40" fmla="*/ 45 w 142"/>
                  <a:gd name="T41" fmla="*/ 0 h 101"/>
                  <a:gd name="T42" fmla="*/ 76 w 142"/>
                  <a:gd name="T43" fmla="*/ 17 h 101"/>
                  <a:gd name="T44" fmla="*/ 76 w 142"/>
                  <a:gd name="T45" fmla="*/ 17 h 101"/>
                  <a:gd name="T46" fmla="*/ 89 w 142"/>
                  <a:gd name="T47" fmla="*/ 5 h 101"/>
                  <a:gd name="T48" fmla="*/ 109 w 142"/>
                  <a:gd name="T49" fmla="*/ 0 h 101"/>
                  <a:gd name="T50" fmla="*/ 134 w 142"/>
                  <a:gd name="T51" fmla="*/ 9 h 101"/>
                  <a:gd name="T52" fmla="*/ 142 w 142"/>
                  <a:gd name="T53" fmla="*/ 37 h 101"/>
                  <a:gd name="T54" fmla="*/ 142 w 142"/>
                  <a:gd name="T55" fmla="*/ 101 h 101"/>
                  <a:gd name="T56" fmla="*/ 127 w 142"/>
                  <a:gd name="T5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01">
                    <a:moveTo>
                      <a:pt x="127" y="101"/>
                    </a:moveTo>
                    <a:cubicBezTo>
                      <a:pt x="127" y="37"/>
                      <a:pt x="127" y="37"/>
                      <a:pt x="127" y="37"/>
                    </a:cubicBezTo>
                    <a:cubicBezTo>
                      <a:pt x="127" y="29"/>
                      <a:pt x="126" y="23"/>
                      <a:pt x="122" y="19"/>
                    </a:cubicBezTo>
                    <a:cubicBezTo>
                      <a:pt x="119" y="15"/>
                      <a:pt x="113" y="13"/>
                      <a:pt x="106" y="13"/>
                    </a:cubicBezTo>
                    <a:cubicBezTo>
                      <a:pt x="97" y="13"/>
                      <a:pt x="90" y="16"/>
                      <a:pt x="86" y="21"/>
                    </a:cubicBezTo>
                    <a:cubicBezTo>
                      <a:pt x="81" y="26"/>
                      <a:pt x="79" y="35"/>
                      <a:pt x="79" y="46"/>
                    </a:cubicBezTo>
                    <a:cubicBezTo>
                      <a:pt x="79" y="101"/>
                      <a:pt x="79" y="101"/>
                      <a:pt x="79" y="101"/>
                    </a:cubicBezTo>
                    <a:cubicBezTo>
                      <a:pt x="64" y="101"/>
                      <a:pt x="64" y="101"/>
                      <a:pt x="64" y="101"/>
                    </a:cubicBezTo>
                    <a:cubicBezTo>
                      <a:pt x="64" y="37"/>
                      <a:pt x="64" y="37"/>
                      <a:pt x="64" y="37"/>
                    </a:cubicBezTo>
                    <a:cubicBezTo>
                      <a:pt x="64" y="29"/>
                      <a:pt x="62" y="23"/>
                      <a:pt x="59" y="19"/>
                    </a:cubicBezTo>
                    <a:cubicBezTo>
                      <a:pt x="55" y="15"/>
                      <a:pt x="50" y="13"/>
                      <a:pt x="43" y="13"/>
                    </a:cubicBezTo>
                    <a:cubicBezTo>
                      <a:pt x="33" y="13"/>
                      <a:pt x="26" y="16"/>
                      <a:pt x="22" y="21"/>
                    </a:cubicBezTo>
                    <a:cubicBezTo>
                      <a:pt x="18" y="27"/>
                      <a:pt x="15" y="36"/>
                      <a:pt x="15" y="49"/>
                    </a:cubicBezTo>
                    <a:cubicBezTo>
                      <a:pt x="15" y="101"/>
                      <a:pt x="15" y="101"/>
                      <a:pt x="15" y="101"/>
                    </a:cubicBezTo>
                    <a:cubicBezTo>
                      <a:pt x="0" y="101"/>
                      <a:pt x="0" y="101"/>
                      <a:pt x="0" y="101"/>
                    </a:cubicBezTo>
                    <a:cubicBezTo>
                      <a:pt x="0" y="2"/>
                      <a:pt x="0" y="2"/>
                      <a:pt x="0" y="2"/>
                    </a:cubicBezTo>
                    <a:cubicBezTo>
                      <a:pt x="13" y="2"/>
                      <a:pt x="13" y="2"/>
                      <a:pt x="13" y="2"/>
                    </a:cubicBezTo>
                    <a:cubicBezTo>
                      <a:pt x="15" y="16"/>
                      <a:pt x="15" y="16"/>
                      <a:pt x="15" y="16"/>
                    </a:cubicBezTo>
                    <a:cubicBezTo>
                      <a:pt x="16" y="16"/>
                      <a:pt x="16" y="16"/>
                      <a:pt x="16" y="16"/>
                    </a:cubicBezTo>
                    <a:cubicBezTo>
                      <a:pt x="19" y="11"/>
                      <a:pt x="23" y="7"/>
                      <a:pt x="28" y="4"/>
                    </a:cubicBezTo>
                    <a:cubicBezTo>
                      <a:pt x="33" y="2"/>
                      <a:pt x="39" y="0"/>
                      <a:pt x="45" y="0"/>
                    </a:cubicBezTo>
                    <a:cubicBezTo>
                      <a:pt x="61" y="0"/>
                      <a:pt x="71" y="6"/>
                      <a:pt x="76" y="17"/>
                    </a:cubicBezTo>
                    <a:cubicBezTo>
                      <a:pt x="76" y="17"/>
                      <a:pt x="76" y="17"/>
                      <a:pt x="76" y="17"/>
                    </a:cubicBezTo>
                    <a:cubicBezTo>
                      <a:pt x="79" y="12"/>
                      <a:pt x="84" y="8"/>
                      <a:pt x="89" y="5"/>
                    </a:cubicBezTo>
                    <a:cubicBezTo>
                      <a:pt x="95" y="2"/>
                      <a:pt x="101" y="0"/>
                      <a:pt x="109" y="0"/>
                    </a:cubicBezTo>
                    <a:cubicBezTo>
                      <a:pt x="120" y="0"/>
                      <a:pt x="128" y="3"/>
                      <a:pt x="134" y="9"/>
                    </a:cubicBezTo>
                    <a:cubicBezTo>
                      <a:pt x="139" y="15"/>
                      <a:pt x="142" y="24"/>
                      <a:pt x="142" y="37"/>
                    </a:cubicBezTo>
                    <a:cubicBezTo>
                      <a:pt x="142" y="101"/>
                      <a:pt x="142" y="101"/>
                      <a:pt x="142" y="101"/>
                    </a:cubicBezTo>
                    <a:lnTo>
                      <a:pt x="12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821"/>
              <p:cNvSpPr>
                <a:spLocks noEditPoints="1"/>
              </p:cNvSpPr>
              <p:nvPr/>
            </p:nvSpPr>
            <p:spPr bwMode="auto">
              <a:xfrm>
                <a:off x="5459171" y="4152080"/>
                <a:ext cx="110452" cy="142401"/>
              </a:xfrm>
              <a:custGeom>
                <a:avLst/>
                <a:gdLst>
                  <a:gd name="T0" fmla="*/ 69 w 80"/>
                  <a:gd name="T1" fmla="*/ 101 h 103"/>
                  <a:gd name="T2" fmla="*/ 66 w 80"/>
                  <a:gd name="T3" fmla="*/ 87 h 103"/>
                  <a:gd name="T4" fmla="*/ 65 w 80"/>
                  <a:gd name="T5" fmla="*/ 87 h 103"/>
                  <a:gd name="T6" fmla="*/ 50 w 80"/>
                  <a:gd name="T7" fmla="*/ 100 h 103"/>
                  <a:gd name="T8" fmla="*/ 32 w 80"/>
                  <a:gd name="T9" fmla="*/ 103 h 103"/>
                  <a:gd name="T10" fmla="*/ 9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8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9"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4" y="22"/>
                      <a:pt x="60" y="18"/>
                    </a:cubicBezTo>
                    <a:cubicBezTo>
                      <a:pt x="57" y="15"/>
                      <a:pt x="52" y="13"/>
                      <a:pt x="44" y="13"/>
                    </a:cubicBezTo>
                    <a:cubicBezTo>
                      <a:pt x="36" y="13"/>
                      <a:pt x="26" y="15"/>
                      <a:pt x="16" y="20"/>
                    </a:cubicBezTo>
                    <a:cubicBezTo>
                      <a:pt x="11" y="9"/>
                      <a:pt x="11" y="9"/>
                      <a:pt x="11" y="9"/>
                    </a:cubicBezTo>
                    <a:cubicBezTo>
                      <a:pt x="16" y="6"/>
                      <a:pt x="22" y="4"/>
                      <a:pt x="28" y="3"/>
                    </a:cubicBezTo>
                    <a:cubicBezTo>
                      <a:pt x="33" y="1"/>
                      <a:pt x="39" y="0"/>
                      <a:pt x="45" y="0"/>
                    </a:cubicBezTo>
                    <a:cubicBezTo>
                      <a:pt x="57" y="0"/>
                      <a:pt x="66" y="3"/>
                      <a:pt x="71" y="8"/>
                    </a:cubicBezTo>
                    <a:cubicBezTo>
                      <a:pt x="77" y="13"/>
                      <a:pt x="80" y="22"/>
                      <a:pt x="80" y="34"/>
                    </a:cubicBezTo>
                    <a:cubicBezTo>
                      <a:pt x="80" y="101"/>
                      <a:pt x="80" y="101"/>
                      <a:pt x="80" y="101"/>
                    </a:cubicBezTo>
                    <a:lnTo>
                      <a:pt x="69" y="101"/>
                    </a:lnTo>
                    <a:close/>
                    <a:moveTo>
                      <a:pt x="35" y="91"/>
                    </a:moveTo>
                    <a:cubicBezTo>
                      <a:pt x="44" y="91"/>
                      <a:pt x="52"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9" y="62"/>
                      <a:pt x="16" y="67"/>
                      <a:pt x="16" y="74"/>
                    </a:cubicBezTo>
                    <a:cubicBezTo>
                      <a:pt x="16" y="80"/>
                      <a:pt x="18" y="84"/>
                      <a:pt x="21" y="87"/>
                    </a:cubicBezTo>
                    <a:cubicBezTo>
                      <a:pt x="24" y="89"/>
                      <a:pt x="29" y="91"/>
                      <a:pt x="35"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22"/>
              <p:cNvSpPr>
                <a:spLocks/>
              </p:cNvSpPr>
              <p:nvPr/>
            </p:nvSpPr>
            <p:spPr bwMode="auto">
              <a:xfrm>
                <a:off x="5587880" y="4122869"/>
                <a:ext cx="81242"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3 w 59"/>
                  <a:gd name="T11" fmla="*/ 124 h 124"/>
                  <a:gd name="T12" fmla="*/ 15 w 59"/>
                  <a:gd name="T13" fmla="*/ 94 h 124"/>
                  <a:gd name="T14" fmla="*/ 15 w 59"/>
                  <a:gd name="T15" fmla="*/ 35 h 124"/>
                  <a:gd name="T16" fmla="*/ 0 w 59"/>
                  <a:gd name="T17" fmla="*/ 35 h 124"/>
                  <a:gd name="T18" fmla="*/ 0 w 59"/>
                  <a:gd name="T19" fmla="*/ 27 h 124"/>
                  <a:gd name="T20" fmla="*/ 15 w 59"/>
                  <a:gd name="T21" fmla="*/ 21 h 124"/>
                  <a:gd name="T22" fmla="*/ 21 w 59"/>
                  <a:gd name="T23" fmla="*/ 0 h 124"/>
                  <a:gd name="T24" fmla="*/ 30 w 59"/>
                  <a:gd name="T25" fmla="*/ 0 h 124"/>
                  <a:gd name="T26" fmla="*/ 30 w 59"/>
                  <a:gd name="T27" fmla="*/ 23 h 124"/>
                  <a:gd name="T28" fmla="*/ 58 w 59"/>
                  <a:gd name="T29" fmla="*/ 23 h 124"/>
                  <a:gd name="T30" fmla="*/ 58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3" y="124"/>
                    </a:cubicBezTo>
                    <a:cubicBezTo>
                      <a:pt x="24" y="124"/>
                      <a:pt x="15" y="114"/>
                      <a:pt x="15" y="94"/>
                    </a:cubicBezTo>
                    <a:cubicBezTo>
                      <a:pt x="15" y="35"/>
                      <a:pt x="15" y="35"/>
                      <a:pt x="15" y="35"/>
                    </a:cubicBezTo>
                    <a:cubicBezTo>
                      <a:pt x="0" y="35"/>
                      <a:pt x="0" y="35"/>
                      <a:pt x="0" y="35"/>
                    </a:cubicBezTo>
                    <a:cubicBezTo>
                      <a:pt x="0" y="27"/>
                      <a:pt x="0" y="27"/>
                      <a:pt x="0" y="27"/>
                    </a:cubicBezTo>
                    <a:cubicBezTo>
                      <a:pt x="15" y="21"/>
                      <a:pt x="15" y="21"/>
                      <a:pt x="15" y="21"/>
                    </a:cubicBezTo>
                    <a:cubicBezTo>
                      <a:pt x="21" y="0"/>
                      <a:pt x="21" y="0"/>
                      <a:pt x="21" y="0"/>
                    </a:cubicBezTo>
                    <a:cubicBezTo>
                      <a:pt x="30" y="0"/>
                      <a:pt x="30" y="0"/>
                      <a:pt x="30" y="0"/>
                    </a:cubicBezTo>
                    <a:cubicBezTo>
                      <a:pt x="30" y="23"/>
                      <a:pt x="30" y="23"/>
                      <a:pt x="30" y="23"/>
                    </a:cubicBezTo>
                    <a:cubicBezTo>
                      <a:pt x="58" y="23"/>
                      <a:pt x="58" y="23"/>
                      <a:pt x="58" y="23"/>
                    </a:cubicBezTo>
                    <a:cubicBezTo>
                      <a:pt x="58" y="35"/>
                      <a:pt x="58" y="35"/>
                      <a:pt x="58"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23"/>
              <p:cNvSpPr>
                <a:spLocks/>
              </p:cNvSpPr>
              <p:nvPr/>
            </p:nvSpPr>
            <p:spPr bwMode="auto">
              <a:xfrm>
                <a:off x="5671860" y="4122869"/>
                <a:ext cx="82155"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1 w 59"/>
                  <a:gd name="T23" fmla="*/ 0 h 124"/>
                  <a:gd name="T24" fmla="*/ 30 w 59"/>
                  <a:gd name="T25" fmla="*/ 0 h 124"/>
                  <a:gd name="T26" fmla="*/ 30 w 59"/>
                  <a:gd name="T27" fmla="*/ 23 h 124"/>
                  <a:gd name="T28" fmla="*/ 58 w 59"/>
                  <a:gd name="T29" fmla="*/ 23 h 124"/>
                  <a:gd name="T30" fmla="*/ 58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3" y="124"/>
                    </a:cubicBezTo>
                    <a:cubicBezTo>
                      <a:pt x="24"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1" y="0"/>
                      <a:pt x="21" y="0"/>
                      <a:pt x="21" y="0"/>
                    </a:cubicBezTo>
                    <a:cubicBezTo>
                      <a:pt x="30" y="0"/>
                      <a:pt x="30" y="0"/>
                      <a:pt x="30" y="0"/>
                    </a:cubicBezTo>
                    <a:cubicBezTo>
                      <a:pt x="30" y="23"/>
                      <a:pt x="30" y="23"/>
                      <a:pt x="30" y="23"/>
                    </a:cubicBezTo>
                    <a:cubicBezTo>
                      <a:pt x="58" y="23"/>
                      <a:pt x="58" y="23"/>
                      <a:pt x="58" y="23"/>
                    </a:cubicBezTo>
                    <a:cubicBezTo>
                      <a:pt x="58" y="35"/>
                      <a:pt x="58" y="35"/>
                      <a:pt x="58"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824"/>
              <p:cNvSpPr>
                <a:spLocks noEditPoints="1"/>
              </p:cNvSpPr>
              <p:nvPr/>
            </p:nvSpPr>
            <p:spPr bwMode="auto">
              <a:xfrm>
                <a:off x="5767707" y="4152080"/>
                <a:ext cx="115929" cy="142401"/>
              </a:xfrm>
              <a:custGeom>
                <a:avLst/>
                <a:gdLst>
                  <a:gd name="T0" fmla="*/ 47 w 84"/>
                  <a:gd name="T1" fmla="*/ 103 h 103"/>
                  <a:gd name="T2" fmla="*/ 13 w 84"/>
                  <a:gd name="T3" fmla="*/ 90 h 103"/>
                  <a:gd name="T4" fmla="*/ 0 w 84"/>
                  <a:gd name="T5" fmla="*/ 53 h 103"/>
                  <a:gd name="T6" fmla="*/ 12 w 84"/>
                  <a:gd name="T7" fmla="*/ 14 h 103"/>
                  <a:gd name="T8" fmla="*/ 44 w 84"/>
                  <a:gd name="T9" fmla="*/ 0 h 103"/>
                  <a:gd name="T10" fmla="*/ 73 w 84"/>
                  <a:gd name="T11" fmla="*/ 12 h 103"/>
                  <a:gd name="T12" fmla="*/ 84 w 84"/>
                  <a:gd name="T13" fmla="*/ 45 h 103"/>
                  <a:gd name="T14" fmla="*/ 84 w 84"/>
                  <a:gd name="T15" fmla="*/ 54 h 103"/>
                  <a:gd name="T16" fmla="*/ 15 w 84"/>
                  <a:gd name="T17" fmla="*/ 54 h 103"/>
                  <a:gd name="T18" fmla="*/ 24 w 84"/>
                  <a:gd name="T19" fmla="*/ 81 h 103"/>
                  <a:gd name="T20" fmla="*/ 48 w 84"/>
                  <a:gd name="T21" fmla="*/ 90 h 103"/>
                  <a:gd name="T22" fmla="*/ 80 w 84"/>
                  <a:gd name="T23" fmla="*/ 83 h 103"/>
                  <a:gd name="T24" fmla="*/ 80 w 84"/>
                  <a:gd name="T25" fmla="*/ 97 h 103"/>
                  <a:gd name="T26" fmla="*/ 65 w 84"/>
                  <a:gd name="T27" fmla="*/ 102 h 103"/>
                  <a:gd name="T28" fmla="*/ 47 w 84"/>
                  <a:gd name="T29" fmla="*/ 103 h 103"/>
                  <a:gd name="T30" fmla="*/ 43 w 84"/>
                  <a:gd name="T31" fmla="*/ 13 h 103"/>
                  <a:gd name="T32" fmla="*/ 24 w 84"/>
                  <a:gd name="T33" fmla="*/ 21 h 103"/>
                  <a:gd name="T34" fmla="*/ 16 w 84"/>
                  <a:gd name="T35" fmla="*/ 42 h 103"/>
                  <a:gd name="T36" fmla="*/ 68 w 84"/>
                  <a:gd name="T37" fmla="*/ 42 h 103"/>
                  <a:gd name="T38" fmla="*/ 61 w 84"/>
                  <a:gd name="T39" fmla="*/ 20 h 103"/>
                  <a:gd name="T40" fmla="*/ 43 w 84"/>
                  <a:gd name="T41"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3">
                    <a:moveTo>
                      <a:pt x="47" y="103"/>
                    </a:moveTo>
                    <a:cubicBezTo>
                      <a:pt x="33" y="103"/>
                      <a:pt x="21" y="99"/>
                      <a:pt x="13" y="90"/>
                    </a:cubicBezTo>
                    <a:cubicBezTo>
                      <a:pt x="4" y="81"/>
                      <a:pt x="0" y="68"/>
                      <a:pt x="0" y="53"/>
                    </a:cubicBezTo>
                    <a:cubicBezTo>
                      <a:pt x="0" y="36"/>
                      <a:pt x="4" y="24"/>
                      <a:pt x="12" y="14"/>
                    </a:cubicBezTo>
                    <a:cubicBezTo>
                      <a:pt x="20" y="5"/>
                      <a:pt x="30" y="0"/>
                      <a:pt x="44" y="0"/>
                    </a:cubicBezTo>
                    <a:cubicBezTo>
                      <a:pt x="56" y="0"/>
                      <a:pt x="66" y="4"/>
                      <a:pt x="73" y="12"/>
                    </a:cubicBezTo>
                    <a:cubicBezTo>
                      <a:pt x="80" y="21"/>
                      <a:pt x="84" y="31"/>
                      <a:pt x="84" y="45"/>
                    </a:cubicBezTo>
                    <a:cubicBezTo>
                      <a:pt x="84" y="54"/>
                      <a:pt x="84" y="54"/>
                      <a:pt x="84" y="54"/>
                    </a:cubicBezTo>
                    <a:cubicBezTo>
                      <a:pt x="15" y="54"/>
                      <a:pt x="15" y="54"/>
                      <a:pt x="15" y="54"/>
                    </a:cubicBezTo>
                    <a:cubicBezTo>
                      <a:pt x="16" y="66"/>
                      <a:pt x="19" y="75"/>
                      <a:pt x="24" y="81"/>
                    </a:cubicBezTo>
                    <a:cubicBezTo>
                      <a:pt x="30" y="87"/>
                      <a:pt x="38" y="90"/>
                      <a:pt x="48" y="90"/>
                    </a:cubicBezTo>
                    <a:cubicBezTo>
                      <a:pt x="59" y="90"/>
                      <a:pt x="69" y="88"/>
                      <a:pt x="80" y="83"/>
                    </a:cubicBezTo>
                    <a:cubicBezTo>
                      <a:pt x="80" y="97"/>
                      <a:pt x="80" y="97"/>
                      <a:pt x="80" y="97"/>
                    </a:cubicBezTo>
                    <a:cubicBezTo>
                      <a:pt x="74" y="99"/>
                      <a:pt x="69" y="101"/>
                      <a:pt x="65" y="102"/>
                    </a:cubicBezTo>
                    <a:cubicBezTo>
                      <a:pt x="60" y="103"/>
                      <a:pt x="54" y="103"/>
                      <a:pt x="47" y="103"/>
                    </a:cubicBezTo>
                    <a:close/>
                    <a:moveTo>
                      <a:pt x="43" y="13"/>
                    </a:moveTo>
                    <a:cubicBezTo>
                      <a:pt x="35" y="13"/>
                      <a:pt x="29" y="15"/>
                      <a:pt x="24" y="21"/>
                    </a:cubicBezTo>
                    <a:cubicBezTo>
                      <a:pt x="19" y="26"/>
                      <a:pt x="17" y="33"/>
                      <a:pt x="16" y="42"/>
                    </a:cubicBezTo>
                    <a:cubicBezTo>
                      <a:pt x="68" y="42"/>
                      <a:pt x="68" y="42"/>
                      <a:pt x="68" y="42"/>
                    </a:cubicBezTo>
                    <a:cubicBezTo>
                      <a:pt x="68" y="33"/>
                      <a:pt x="66" y="25"/>
                      <a:pt x="61" y="20"/>
                    </a:cubicBezTo>
                    <a:cubicBezTo>
                      <a:pt x="57" y="15"/>
                      <a:pt x="51" y="13"/>
                      <a:pt x="4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25"/>
              <p:cNvSpPr>
                <a:spLocks/>
              </p:cNvSpPr>
              <p:nvPr/>
            </p:nvSpPr>
            <p:spPr bwMode="auto">
              <a:xfrm>
                <a:off x="5912847" y="4152080"/>
                <a:ext cx="78503" cy="139663"/>
              </a:xfrm>
              <a:custGeom>
                <a:avLst/>
                <a:gdLst>
                  <a:gd name="T0" fmla="*/ 45 w 57"/>
                  <a:gd name="T1" fmla="*/ 0 h 101"/>
                  <a:gd name="T2" fmla="*/ 57 w 57"/>
                  <a:gd name="T3" fmla="*/ 1 h 101"/>
                  <a:gd name="T4" fmla="*/ 55 w 57"/>
                  <a:gd name="T5" fmla="*/ 15 h 101"/>
                  <a:gd name="T6" fmla="*/ 44 w 57"/>
                  <a:gd name="T7" fmla="*/ 14 h 101"/>
                  <a:gd name="T8" fmla="*/ 24 w 57"/>
                  <a:gd name="T9" fmla="*/ 24 h 101"/>
                  <a:gd name="T10" fmla="*/ 15 w 57"/>
                  <a:gd name="T11" fmla="*/ 48 h 101"/>
                  <a:gd name="T12" fmla="*/ 15 w 57"/>
                  <a:gd name="T13" fmla="*/ 101 h 101"/>
                  <a:gd name="T14" fmla="*/ 0 w 57"/>
                  <a:gd name="T15" fmla="*/ 101 h 101"/>
                  <a:gd name="T16" fmla="*/ 0 w 57"/>
                  <a:gd name="T17" fmla="*/ 2 h 101"/>
                  <a:gd name="T18" fmla="*/ 12 w 57"/>
                  <a:gd name="T19" fmla="*/ 2 h 101"/>
                  <a:gd name="T20" fmla="*/ 14 w 57"/>
                  <a:gd name="T21" fmla="*/ 20 h 101"/>
                  <a:gd name="T22" fmla="*/ 15 w 57"/>
                  <a:gd name="T23" fmla="*/ 20 h 101"/>
                  <a:gd name="T24" fmla="*/ 28 w 57"/>
                  <a:gd name="T25" fmla="*/ 5 h 101"/>
                  <a:gd name="T26" fmla="*/ 45 w 57"/>
                  <a:gd name="T2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01">
                    <a:moveTo>
                      <a:pt x="45" y="0"/>
                    </a:moveTo>
                    <a:cubicBezTo>
                      <a:pt x="50" y="0"/>
                      <a:pt x="54" y="1"/>
                      <a:pt x="57" y="1"/>
                    </a:cubicBezTo>
                    <a:cubicBezTo>
                      <a:pt x="55" y="15"/>
                      <a:pt x="55" y="15"/>
                      <a:pt x="55" y="15"/>
                    </a:cubicBezTo>
                    <a:cubicBezTo>
                      <a:pt x="51" y="14"/>
                      <a:pt x="47" y="14"/>
                      <a:pt x="44" y="14"/>
                    </a:cubicBezTo>
                    <a:cubicBezTo>
                      <a:pt x="36" y="14"/>
                      <a:pt x="29" y="17"/>
                      <a:pt x="24" y="24"/>
                    </a:cubicBezTo>
                    <a:cubicBezTo>
                      <a:pt x="18" y="30"/>
                      <a:pt x="15" y="38"/>
                      <a:pt x="15" y="48"/>
                    </a:cubicBezTo>
                    <a:cubicBezTo>
                      <a:pt x="15" y="101"/>
                      <a:pt x="15" y="101"/>
                      <a:pt x="15" y="101"/>
                    </a:cubicBezTo>
                    <a:cubicBezTo>
                      <a:pt x="0" y="101"/>
                      <a:pt x="0" y="101"/>
                      <a:pt x="0" y="101"/>
                    </a:cubicBezTo>
                    <a:cubicBezTo>
                      <a:pt x="0" y="2"/>
                      <a:pt x="0" y="2"/>
                      <a:pt x="0" y="2"/>
                    </a:cubicBezTo>
                    <a:cubicBezTo>
                      <a:pt x="12" y="2"/>
                      <a:pt x="12" y="2"/>
                      <a:pt x="12" y="2"/>
                    </a:cubicBezTo>
                    <a:cubicBezTo>
                      <a:pt x="14" y="20"/>
                      <a:pt x="14" y="20"/>
                      <a:pt x="14" y="20"/>
                    </a:cubicBezTo>
                    <a:cubicBezTo>
                      <a:pt x="15" y="20"/>
                      <a:pt x="15" y="20"/>
                      <a:pt x="15" y="20"/>
                    </a:cubicBezTo>
                    <a:cubicBezTo>
                      <a:pt x="19" y="14"/>
                      <a:pt x="23" y="9"/>
                      <a:pt x="28" y="5"/>
                    </a:cubicBezTo>
                    <a:cubicBezTo>
                      <a:pt x="33" y="2"/>
                      <a:pt x="39"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26"/>
              <p:cNvSpPr>
                <a:spLocks/>
              </p:cNvSpPr>
              <p:nvPr/>
            </p:nvSpPr>
            <p:spPr bwMode="auto">
              <a:xfrm>
                <a:off x="6002304" y="4152080"/>
                <a:ext cx="97673" cy="142401"/>
              </a:xfrm>
              <a:custGeom>
                <a:avLst/>
                <a:gdLst>
                  <a:gd name="T0" fmla="*/ 70 w 70"/>
                  <a:gd name="T1" fmla="*/ 74 h 103"/>
                  <a:gd name="T2" fmla="*/ 60 w 70"/>
                  <a:gd name="T3" fmla="*/ 96 h 103"/>
                  <a:gd name="T4" fmla="*/ 31 w 70"/>
                  <a:gd name="T5" fmla="*/ 103 h 103"/>
                  <a:gd name="T6" fmla="*/ 0 w 70"/>
                  <a:gd name="T7" fmla="*/ 97 h 103"/>
                  <a:gd name="T8" fmla="*/ 0 w 70"/>
                  <a:gd name="T9" fmla="*/ 83 h 103"/>
                  <a:gd name="T10" fmla="*/ 16 w 70"/>
                  <a:gd name="T11" fmla="*/ 89 h 103"/>
                  <a:gd name="T12" fmla="*/ 31 w 70"/>
                  <a:gd name="T13" fmla="*/ 91 h 103"/>
                  <a:gd name="T14" fmla="*/ 50 w 70"/>
                  <a:gd name="T15" fmla="*/ 87 h 103"/>
                  <a:gd name="T16" fmla="*/ 56 w 70"/>
                  <a:gd name="T17" fmla="*/ 76 h 103"/>
                  <a:gd name="T18" fmla="*/ 51 w 70"/>
                  <a:gd name="T19" fmla="*/ 66 h 103"/>
                  <a:gd name="T20" fmla="*/ 31 w 70"/>
                  <a:gd name="T21" fmla="*/ 56 h 103"/>
                  <a:gd name="T22" fmla="*/ 11 w 70"/>
                  <a:gd name="T23" fmla="*/ 47 h 103"/>
                  <a:gd name="T24" fmla="*/ 3 w 70"/>
                  <a:gd name="T25" fmla="*/ 38 h 103"/>
                  <a:gd name="T26" fmla="*/ 0 w 70"/>
                  <a:gd name="T27" fmla="*/ 26 h 103"/>
                  <a:gd name="T28" fmla="*/ 10 w 70"/>
                  <a:gd name="T29" fmla="*/ 7 h 103"/>
                  <a:gd name="T30" fmla="*/ 37 w 70"/>
                  <a:gd name="T31" fmla="*/ 0 h 103"/>
                  <a:gd name="T32" fmla="*/ 68 w 70"/>
                  <a:gd name="T33" fmla="*/ 7 h 103"/>
                  <a:gd name="T34" fmla="*/ 63 w 70"/>
                  <a:gd name="T35" fmla="*/ 19 h 103"/>
                  <a:gd name="T36" fmla="*/ 36 w 70"/>
                  <a:gd name="T37" fmla="*/ 13 h 103"/>
                  <a:gd name="T38" fmla="*/ 20 w 70"/>
                  <a:gd name="T39" fmla="*/ 16 h 103"/>
                  <a:gd name="T40" fmla="*/ 14 w 70"/>
                  <a:gd name="T41" fmla="*/ 25 h 103"/>
                  <a:gd name="T42" fmla="*/ 16 w 70"/>
                  <a:gd name="T43" fmla="*/ 32 h 103"/>
                  <a:gd name="T44" fmla="*/ 23 w 70"/>
                  <a:gd name="T45" fmla="*/ 38 h 103"/>
                  <a:gd name="T46" fmla="*/ 40 w 70"/>
                  <a:gd name="T47" fmla="*/ 45 h 103"/>
                  <a:gd name="T48" fmla="*/ 64 w 70"/>
                  <a:gd name="T49" fmla="*/ 58 h 103"/>
                  <a:gd name="T50" fmla="*/ 70 w 70"/>
                  <a:gd name="T51"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103">
                    <a:moveTo>
                      <a:pt x="70" y="74"/>
                    </a:moveTo>
                    <a:cubicBezTo>
                      <a:pt x="70" y="84"/>
                      <a:pt x="67" y="91"/>
                      <a:pt x="60" y="96"/>
                    </a:cubicBezTo>
                    <a:cubicBezTo>
                      <a:pt x="53" y="101"/>
                      <a:pt x="44" y="103"/>
                      <a:pt x="31" y="103"/>
                    </a:cubicBezTo>
                    <a:cubicBezTo>
                      <a:pt x="18" y="103"/>
                      <a:pt x="8" y="101"/>
                      <a:pt x="0" y="97"/>
                    </a:cubicBezTo>
                    <a:cubicBezTo>
                      <a:pt x="0" y="83"/>
                      <a:pt x="0" y="83"/>
                      <a:pt x="0" y="83"/>
                    </a:cubicBezTo>
                    <a:cubicBezTo>
                      <a:pt x="5" y="85"/>
                      <a:pt x="10" y="87"/>
                      <a:pt x="16" y="89"/>
                    </a:cubicBezTo>
                    <a:cubicBezTo>
                      <a:pt x="21" y="90"/>
                      <a:pt x="26" y="91"/>
                      <a:pt x="31" y="91"/>
                    </a:cubicBezTo>
                    <a:cubicBezTo>
                      <a:pt x="39" y="91"/>
                      <a:pt x="45" y="90"/>
                      <a:pt x="50" y="87"/>
                    </a:cubicBezTo>
                    <a:cubicBezTo>
                      <a:pt x="54" y="85"/>
                      <a:pt x="56" y="81"/>
                      <a:pt x="56" y="76"/>
                    </a:cubicBezTo>
                    <a:cubicBezTo>
                      <a:pt x="56" y="72"/>
                      <a:pt x="54" y="68"/>
                      <a:pt x="51" y="66"/>
                    </a:cubicBezTo>
                    <a:cubicBezTo>
                      <a:pt x="48" y="63"/>
                      <a:pt x="41" y="60"/>
                      <a:pt x="31" y="56"/>
                    </a:cubicBezTo>
                    <a:cubicBezTo>
                      <a:pt x="22" y="52"/>
                      <a:pt x="15" y="49"/>
                      <a:pt x="11" y="47"/>
                    </a:cubicBezTo>
                    <a:cubicBezTo>
                      <a:pt x="8" y="44"/>
                      <a:pt x="5" y="41"/>
                      <a:pt x="3" y="38"/>
                    </a:cubicBezTo>
                    <a:cubicBezTo>
                      <a:pt x="1" y="35"/>
                      <a:pt x="0" y="31"/>
                      <a:pt x="0" y="26"/>
                    </a:cubicBezTo>
                    <a:cubicBezTo>
                      <a:pt x="0" y="18"/>
                      <a:pt x="3" y="12"/>
                      <a:pt x="10" y="7"/>
                    </a:cubicBezTo>
                    <a:cubicBezTo>
                      <a:pt x="16" y="2"/>
                      <a:pt x="25" y="0"/>
                      <a:pt x="37" y="0"/>
                    </a:cubicBezTo>
                    <a:cubicBezTo>
                      <a:pt x="48" y="0"/>
                      <a:pt x="58" y="2"/>
                      <a:pt x="68" y="7"/>
                    </a:cubicBezTo>
                    <a:cubicBezTo>
                      <a:pt x="63" y="19"/>
                      <a:pt x="63" y="19"/>
                      <a:pt x="63" y="19"/>
                    </a:cubicBezTo>
                    <a:cubicBezTo>
                      <a:pt x="53" y="15"/>
                      <a:pt x="44" y="13"/>
                      <a:pt x="36" y="13"/>
                    </a:cubicBezTo>
                    <a:cubicBezTo>
                      <a:pt x="29" y="13"/>
                      <a:pt x="23" y="14"/>
                      <a:pt x="20" y="16"/>
                    </a:cubicBezTo>
                    <a:cubicBezTo>
                      <a:pt x="16" y="18"/>
                      <a:pt x="14" y="21"/>
                      <a:pt x="14" y="25"/>
                    </a:cubicBezTo>
                    <a:cubicBezTo>
                      <a:pt x="14" y="28"/>
                      <a:pt x="15" y="30"/>
                      <a:pt x="16" y="32"/>
                    </a:cubicBezTo>
                    <a:cubicBezTo>
                      <a:pt x="18" y="34"/>
                      <a:pt x="20" y="36"/>
                      <a:pt x="23" y="38"/>
                    </a:cubicBezTo>
                    <a:cubicBezTo>
                      <a:pt x="26" y="39"/>
                      <a:pt x="32" y="42"/>
                      <a:pt x="40" y="45"/>
                    </a:cubicBezTo>
                    <a:cubicBezTo>
                      <a:pt x="52" y="49"/>
                      <a:pt x="60" y="54"/>
                      <a:pt x="64" y="58"/>
                    </a:cubicBezTo>
                    <a:cubicBezTo>
                      <a:pt x="68" y="62"/>
                      <a:pt x="70" y="68"/>
                      <a:pt x="70" y="7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827"/>
              <p:cNvSpPr>
                <a:spLocks noEditPoints="1"/>
              </p:cNvSpPr>
              <p:nvPr/>
            </p:nvSpPr>
            <p:spPr bwMode="auto">
              <a:xfrm>
                <a:off x="2627573" y="4425929"/>
                <a:ext cx="168873" cy="188956"/>
              </a:xfrm>
              <a:custGeom>
                <a:avLst/>
                <a:gdLst>
                  <a:gd name="T0" fmla="*/ 122 w 122"/>
                  <a:gd name="T1" fmla="*/ 68 h 136"/>
                  <a:gd name="T2" fmla="*/ 106 w 122"/>
                  <a:gd name="T3" fmla="*/ 118 h 136"/>
                  <a:gd name="T4" fmla="*/ 62 w 122"/>
                  <a:gd name="T5" fmla="*/ 136 h 136"/>
                  <a:gd name="T6" fmla="*/ 16 w 122"/>
                  <a:gd name="T7" fmla="*/ 118 h 136"/>
                  <a:gd name="T8" fmla="*/ 0 w 122"/>
                  <a:gd name="T9" fmla="*/ 68 h 136"/>
                  <a:gd name="T10" fmla="*/ 16 w 122"/>
                  <a:gd name="T11" fmla="*/ 18 h 136"/>
                  <a:gd name="T12" fmla="*/ 62 w 122"/>
                  <a:gd name="T13" fmla="*/ 0 h 136"/>
                  <a:gd name="T14" fmla="*/ 106 w 122"/>
                  <a:gd name="T15" fmla="*/ 18 h 136"/>
                  <a:gd name="T16" fmla="*/ 122 w 122"/>
                  <a:gd name="T17" fmla="*/ 68 h 136"/>
                  <a:gd name="T18" fmla="*/ 17 w 122"/>
                  <a:gd name="T19" fmla="*/ 68 h 136"/>
                  <a:gd name="T20" fmla="*/ 28 w 122"/>
                  <a:gd name="T21" fmla="*/ 109 h 136"/>
                  <a:gd name="T22" fmla="*/ 62 w 122"/>
                  <a:gd name="T23" fmla="*/ 123 h 136"/>
                  <a:gd name="T24" fmla="*/ 95 w 122"/>
                  <a:gd name="T25" fmla="*/ 109 h 136"/>
                  <a:gd name="T26" fmla="*/ 106 w 122"/>
                  <a:gd name="T27" fmla="*/ 68 h 136"/>
                  <a:gd name="T28" fmla="*/ 95 w 122"/>
                  <a:gd name="T29" fmla="*/ 27 h 136"/>
                  <a:gd name="T30" fmla="*/ 62 w 122"/>
                  <a:gd name="T31" fmla="*/ 14 h 136"/>
                  <a:gd name="T32" fmla="*/ 28 w 122"/>
                  <a:gd name="T33" fmla="*/ 28 h 136"/>
                  <a:gd name="T34" fmla="*/ 17 w 122"/>
                  <a:gd name="T3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36">
                    <a:moveTo>
                      <a:pt x="122" y="68"/>
                    </a:moveTo>
                    <a:cubicBezTo>
                      <a:pt x="122" y="89"/>
                      <a:pt x="117" y="106"/>
                      <a:pt x="106" y="118"/>
                    </a:cubicBezTo>
                    <a:cubicBezTo>
                      <a:pt x="96" y="130"/>
                      <a:pt x="81" y="136"/>
                      <a:pt x="62" y="136"/>
                    </a:cubicBezTo>
                    <a:cubicBezTo>
                      <a:pt x="42" y="136"/>
                      <a:pt x="27" y="130"/>
                      <a:pt x="16" y="118"/>
                    </a:cubicBezTo>
                    <a:cubicBezTo>
                      <a:pt x="6" y="107"/>
                      <a:pt x="0" y="90"/>
                      <a:pt x="0" y="68"/>
                    </a:cubicBezTo>
                    <a:cubicBezTo>
                      <a:pt x="0" y="46"/>
                      <a:pt x="6" y="30"/>
                      <a:pt x="16" y="18"/>
                    </a:cubicBezTo>
                    <a:cubicBezTo>
                      <a:pt x="27" y="6"/>
                      <a:pt x="42" y="0"/>
                      <a:pt x="62" y="0"/>
                    </a:cubicBezTo>
                    <a:cubicBezTo>
                      <a:pt x="81" y="0"/>
                      <a:pt x="96" y="6"/>
                      <a:pt x="106" y="18"/>
                    </a:cubicBezTo>
                    <a:cubicBezTo>
                      <a:pt x="117" y="30"/>
                      <a:pt x="122" y="47"/>
                      <a:pt x="122" y="68"/>
                    </a:cubicBezTo>
                    <a:close/>
                    <a:moveTo>
                      <a:pt x="17" y="68"/>
                    </a:moveTo>
                    <a:cubicBezTo>
                      <a:pt x="17" y="86"/>
                      <a:pt x="21" y="100"/>
                      <a:pt x="28" y="109"/>
                    </a:cubicBezTo>
                    <a:cubicBezTo>
                      <a:pt x="36" y="118"/>
                      <a:pt x="47" y="123"/>
                      <a:pt x="62" y="123"/>
                    </a:cubicBezTo>
                    <a:cubicBezTo>
                      <a:pt x="76" y="123"/>
                      <a:pt x="87" y="118"/>
                      <a:pt x="95" y="109"/>
                    </a:cubicBezTo>
                    <a:cubicBezTo>
                      <a:pt x="102" y="100"/>
                      <a:pt x="106" y="86"/>
                      <a:pt x="106" y="68"/>
                    </a:cubicBezTo>
                    <a:cubicBezTo>
                      <a:pt x="106" y="50"/>
                      <a:pt x="102" y="37"/>
                      <a:pt x="95" y="27"/>
                    </a:cubicBezTo>
                    <a:cubicBezTo>
                      <a:pt x="87" y="18"/>
                      <a:pt x="76" y="14"/>
                      <a:pt x="62" y="14"/>
                    </a:cubicBezTo>
                    <a:cubicBezTo>
                      <a:pt x="47" y="14"/>
                      <a:pt x="36" y="18"/>
                      <a:pt x="28" y="28"/>
                    </a:cubicBezTo>
                    <a:cubicBezTo>
                      <a:pt x="21" y="37"/>
                      <a:pt x="17" y="50"/>
                      <a:pt x="17" y="68"/>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828"/>
              <p:cNvSpPr>
                <a:spLocks/>
              </p:cNvSpPr>
              <p:nvPr/>
            </p:nvSpPr>
            <p:spPr bwMode="auto">
              <a:xfrm>
                <a:off x="2827483" y="4471570"/>
                <a:ext cx="115017" cy="141489"/>
              </a:xfrm>
              <a:custGeom>
                <a:avLst/>
                <a:gdLst>
                  <a:gd name="T0" fmla="*/ 68 w 83"/>
                  <a:gd name="T1" fmla="*/ 102 h 102"/>
                  <a:gd name="T2" fmla="*/ 68 w 83"/>
                  <a:gd name="T3" fmla="*/ 37 h 102"/>
                  <a:gd name="T4" fmla="*/ 63 w 83"/>
                  <a:gd name="T5" fmla="*/ 19 h 102"/>
                  <a:gd name="T6" fmla="*/ 45 w 83"/>
                  <a:gd name="T7" fmla="*/ 13 h 102"/>
                  <a:gd name="T8" fmla="*/ 22 w 83"/>
                  <a:gd name="T9" fmla="*/ 22 h 102"/>
                  <a:gd name="T10" fmla="*/ 15 w 83"/>
                  <a:gd name="T11" fmla="*/ 49 h 102"/>
                  <a:gd name="T12" fmla="*/ 15 w 83"/>
                  <a:gd name="T13" fmla="*/ 102 h 102"/>
                  <a:gd name="T14" fmla="*/ 0 w 83"/>
                  <a:gd name="T15" fmla="*/ 102 h 102"/>
                  <a:gd name="T16" fmla="*/ 0 w 83"/>
                  <a:gd name="T17" fmla="*/ 2 h 102"/>
                  <a:gd name="T18" fmla="*/ 12 w 83"/>
                  <a:gd name="T19" fmla="*/ 2 h 102"/>
                  <a:gd name="T20" fmla="*/ 15 w 83"/>
                  <a:gd name="T21" fmla="*/ 16 h 102"/>
                  <a:gd name="T22" fmla="*/ 16 w 83"/>
                  <a:gd name="T23" fmla="*/ 16 h 102"/>
                  <a:gd name="T24" fmla="*/ 29 w 83"/>
                  <a:gd name="T25" fmla="*/ 4 h 102"/>
                  <a:gd name="T26" fmla="*/ 47 w 83"/>
                  <a:gd name="T27" fmla="*/ 0 h 102"/>
                  <a:gd name="T28" fmla="*/ 74 w 83"/>
                  <a:gd name="T29" fmla="*/ 9 h 102"/>
                  <a:gd name="T30" fmla="*/ 83 w 83"/>
                  <a:gd name="T31" fmla="*/ 37 h 102"/>
                  <a:gd name="T32" fmla="*/ 83 w 83"/>
                  <a:gd name="T33" fmla="*/ 102 h 102"/>
                  <a:gd name="T34" fmla="*/ 68 w 83"/>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2">
                    <a:moveTo>
                      <a:pt x="68" y="102"/>
                    </a:moveTo>
                    <a:cubicBezTo>
                      <a:pt x="68" y="37"/>
                      <a:pt x="68" y="37"/>
                      <a:pt x="68" y="37"/>
                    </a:cubicBezTo>
                    <a:cubicBezTo>
                      <a:pt x="68" y="29"/>
                      <a:pt x="66" y="23"/>
                      <a:pt x="63" y="19"/>
                    </a:cubicBezTo>
                    <a:cubicBezTo>
                      <a:pt x="59" y="15"/>
                      <a:pt x="53" y="13"/>
                      <a:pt x="45" y="13"/>
                    </a:cubicBezTo>
                    <a:cubicBezTo>
                      <a:pt x="35" y="13"/>
                      <a:pt x="27" y="16"/>
                      <a:pt x="22" y="22"/>
                    </a:cubicBezTo>
                    <a:cubicBezTo>
                      <a:pt x="18" y="27"/>
                      <a:pt x="15" y="36"/>
                      <a:pt x="15" y="49"/>
                    </a:cubicBezTo>
                    <a:cubicBezTo>
                      <a:pt x="15" y="102"/>
                      <a:pt x="15" y="102"/>
                      <a:pt x="15" y="102"/>
                    </a:cubicBezTo>
                    <a:cubicBezTo>
                      <a:pt x="0" y="102"/>
                      <a:pt x="0" y="102"/>
                      <a:pt x="0" y="102"/>
                    </a:cubicBezTo>
                    <a:cubicBezTo>
                      <a:pt x="0" y="2"/>
                      <a:pt x="0" y="2"/>
                      <a:pt x="0" y="2"/>
                    </a:cubicBezTo>
                    <a:cubicBezTo>
                      <a:pt x="12" y="2"/>
                      <a:pt x="12" y="2"/>
                      <a:pt x="12" y="2"/>
                    </a:cubicBezTo>
                    <a:cubicBezTo>
                      <a:pt x="15" y="16"/>
                      <a:pt x="15" y="16"/>
                      <a:pt x="15" y="16"/>
                    </a:cubicBezTo>
                    <a:cubicBezTo>
                      <a:pt x="16" y="16"/>
                      <a:pt x="16" y="16"/>
                      <a:pt x="16" y="16"/>
                    </a:cubicBezTo>
                    <a:cubicBezTo>
                      <a:pt x="19" y="11"/>
                      <a:pt x="23" y="7"/>
                      <a:pt x="29" y="4"/>
                    </a:cubicBezTo>
                    <a:cubicBezTo>
                      <a:pt x="34" y="2"/>
                      <a:pt x="40" y="0"/>
                      <a:pt x="47" y="0"/>
                    </a:cubicBezTo>
                    <a:cubicBezTo>
                      <a:pt x="59" y="0"/>
                      <a:pt x="68" y="3"/>
                      <a:pt x="74" y="9"/>
                    </a:cubicBezTo>
                    <a:cubicBezTo>
                      <a:pt x="80" y="15"/>
                      <a:pt x="83" y="24"/>
                      <a:pt x="83" y="37"/>
                    </a:cubicBezTo>
                    <a:cubicBezTo>
                      <a:pt x="83" y="102"/>
                      <a:pt x="83" y="102"/>
                      <a:pt x="83" y="102"/>
                    </a:cubicBezTo>
                    <a:lnTo>
                      <a:pt x="68" y="102"/>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829"/>
              <p:cNvSpPr>
                <a:spLocks noEditPoints="1"/>
              </p:cNvSpPr>
              <p:nvPr/>
            </p:nvSpPr>
            <p:spPr bwMode="auto">
              <a:xfrm>
                <a:off x="2971710" y="4471570"/>
                <a:ext cx="115929" cy="143314"/>
              </a:xfrm>
              <a:custGeom>
                <a:avLst/>
                <a:gdLst>
                  <a:gd name="T0" fmla="*/ 48 w 84"/>
                  <a:gd name="T1" fmla="*/ 103 h 103"/>
                  <a:gd name="T2" fmla="*/ 13 w 84"/>
                  <a:gd name="T3" fmla="*/ 90 h 103"/>
                  <a:gd name="T4" fmla="*/ 0 w 84"/>
                  <a:gd name="T5" fmla="*/ 53 h 103"/>
                  <a:gd name="T6" fmla="*/ 12 w 84"/>
                  <a:gd name="T7" fmla="*/ 14 h 103"/>
                  <a:gd name="T8" fmla="*/ 44 w 84"/>
                  <a:gd name="T9" fmla="*/ 0 h 103"/>
                  <a:gd name="T10" fmla="*/ 73 w 84"/>
                  <a:gd name="T11" fmla="*/ 13 h 103"/>
                  <a:gd name="T12" fmla="*/ 84 w 84"/>
                  <a:gd name="T13" fmla="*/ 45 h 103"/>
                  <a:gd name="T14" fmla="*/ 84 w 84"/>
                  <a:gd name="T15" fmla="*/ 55 h 103"/>
                  <a:gd name="T16" fmla="*/ 16 w 84"/>
                  <a:gd name="T17" fmla="*/ 55 h 103"/>
                  <a:gd name="T18" fmla="*/ 24 w 84"/>
                  <a:gd name="T19" fmla="*/ 81 h 103"/>
                  <a:gd name="T20" fmla="*/ 48 w 84"/>
                  <a:gd name="T21" fmla="*/ 90 h 103"/>
                  <a:gd name="T22" fmla="*/ 80 w 84"/>
                  <a:gd name="T23" fmla="*/ 84 h 103"/>
                  <a:gd name="T24" fmla="*/ 80 w 84"/>
                  <a:gd name="T25" fmla="*/ 97 h 103"/>
                  <a:gd name="T26" fmla="*/ 65 w 84"/>
                  <a:gd name="T27" fmla="*/ 102 h 103"/>
                  <a:gd name="T28" fmla="*/ 48 w 84"/>
                  <a:gd name="T29" fmla="*/ 103 h 103"/>
                  <a:gd name="T30" fmla="*/ 44 w 84"/>
                  <a:gd name="T31" fmla="*/ 13 h 103"/>
                  <a:gd name="T32" fmla="*/ 24 w 84"/>
                  <a:gd name="T33" fmla="*/ 21 h 103"/>
                  <a:gd name="T34" fmla="*/ 16 w 84"/>
                  <a:gd name="T35" fmla="*/ 42 h 103"/>
                  <a:gd name="T36" fmla="*/ 68 w 84"/>
                  <a:gd name="T37" fmla="*/ 42 h 103"/>
                  <a:gd name="T38" fmla="*/ 62 w 84"/>
                  <a:gd name="T39" fmla="*/ 20 h 103"/>
                  <a:gd name="T40" fmla="*/ 44 w 84"/>
                  <a:gd name="T41"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3">
                    <a:moveTo>
                      <a:pt x="48" y="103"/>
                    </a:moveTo>
                    <a:cubicBezTo>
                      <a:pt x="33" y="103"/>
                      <a:pt x="21" y="99"/>
                      <a:pt x="13" y="90"/>
                    </a:cubicBezTo>
                    <a:cubicBezTo>
                      <a:pt x="4" y="81"/>
                      <a:pt x="0" y="69"/>
                      <a:pt x="0" y="53"/>
                    </a:cubicBezTo>
                    <a:cubicBezTo>
                      <a:pt x="0" y="37"/>
                      <a:pt x="4" y="24"/>
                      <a:pt x="12" y="14"/>
                    </a:cubicBezTo>
                    <a:cubicBezTo>
                      <a:pt x="20" y="5"/>
                      <a:pt x="30" y="0"/>
                      <a:pt x="44" y="0"/>
                    </a:cubicBezTo>
                    <a:cubicBezTo>
                      <a:pt x="56" y="0"/>
                      <a:pt x="66" y="4"/>
                      <a:pt x="73" y="13"/>
                    </a:cubicBezTo>
                    <a:cubicBezTo>
                      <a:pt x="81" y="21"/>
                      <a:pt x="84" y="32"/>
                      <a:pt x="84" y="45"/>
                    </a:cubicBezTo>
                    <a:cubicBezTo>
                      <a:pt x="84" y="55"/>
                      <a:pt x="84" y="55"/>
                      <a:pt x="84" y="55"/>
                    </a:cubicBezTo>
                    <a:cubicBezTo>
                      <a:pt x="16" y="55"/>
                      <a:pt x="16" y="55"/>
                      <a:pt x="16" y="55"/>
                    </a:cubicBezTo>
                    <a:cubicBezTo>
                      <a:pt x="16" y="66"/>
                      <a:pt x="19" y="75"/>
                      <a:pt x="24" y="81"/>
                    </a:cubicBezTo>
                    <a:cubicBezTo>
                      <a:pt x="30" y="87"/>
                      <a:pt x="38" y="90"/>
                      <a:pt x="48" y="90"/>
                    </a:cubicBezTo>
                    <a:cubicBezTo>
                      <a:pt x="59" y="90"/>
                      <a:pt x="69" y="88"/>
                      <a:pt x="80" y="84"/>
                    </a:cubicBezTo>
                    <a:cubicBezTo>
                      <a:pt x="80" y="97"/>
                      <a:pt x="80" y="97"/>
                      <a:pt x="80" y="97"/>
                    </a:cubicBezTo>
                    <a:cubicBezTo>
                      <a:pt x="75" y="99"/>
                      <a:pt x="70" y="101"/>
                      <a:pt x="65" y="102"/>
                    </a:cubicBezTo>
                    <a:cubicBezTo>
                      <a:pt x="60" y="103"/>
                      <a:pt x="54" y="103"/>
                      <a:pt x="48" y="103"/>
                    </a:cubicBezTo>
                    <a:close/>
                    <a:moveTo>
                      <a:pt x="44" y="13"/>
                    </a:moveTo>
                    <a:cubicBezTo>
                      <a:pt x="36" y="13"/>
                      <a:pt x="29" y="16"/>
                      <a:pt x="24" y="21"/>
                    </a:cubicBezTo>
                    <a:cubicBezTo>
                      <a:pt x="20" y="26"/>
                      <a:pt x="17" y="33"/>
                      <a:pt x="16" y="42"/>
                    </a:cubicBezTo>
                    <a:cubicBezTo>
                      <a:pt x="68" y="42"/>
                      <a:pt x="68" y="42"/>
                      <a:pt x="68" y="42"/>
                    </a:cubicBezTo>
                    <a:cubicBezTo>
                      <a:pt x="68" y="33"/>
                      <a:pt x="66" y="26"/>
                      <a:pt x="62" y="20"/>
                    </a:cubicBezTo>
                    <a:cubicBezTo>
                      <a:pt x="57" y="15"/>
                      <a:pt x="51" y="13"/>
                      <a:pt x="44" y="13"/>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30"/>
              <p:cNvSpPr>
                <a:spLocks/>
              </p:cNvSpPr>
              <p:nvPr/>
            </p:nvSpPr>
            <p:spPr bwMode="auto">
              <a:xfrm>
                <a:off x="3158840" y="4443273"/>
                <a:ext cx="75765" cy="171612"/>
              </a:xfrm>
              <a:custGeom>
                <a:avLst/>
                <a:gdLst>
                  <a:gd name="T0" fmla="*/ 40 w 55"/>
                  <a:gd name="T1" fmla="*/ 116 h 124"/>
                  <a:gd name="T2" fmla="*/ 55 w 55"/>
                  <a:gd name="T3" fmla="*/ 115 h 124"/>
                  <a:gd name="T4" fmla="*/ 55 w 55"/>
                  <a:gd name="T5" fmla="*/ 122 h 124"/>
                  <a:gd name="T6" fmla="*/ 40 w 55"/>
                  <a:gd name="T7" fmla="*/ 124 h 124"/>
                  <a:gd name="T8" fmla="*/ 21 w 55"/>
                  <a:gd name="T9" fmla="*/ 117 h 124"/>
                  <a:gd name="T10" fmla="*/ 15 w 55"/>
                  <a:gd name="T11" fmla="*/ 95 h 124"/>
                  <a:gd name="T12" fmla="*/ 15 w 55"/>
                  <a:gd name="T13" fmla="*/ 32 h 124"/>
                  <a:gd name="T14" fmla="*/ 0 w 55"/>
                  <a:gd name="T15" fmla="*/ 32 h 124"/>
                  <a:gd name="T16" fmla="*/ 0 w 55"/>
                  <a:gd name="T17" fmla="*/ 26 h 124"/>
                  <a:gd name="T18" fmla="*/ 15 w 55"/>
                  <a:gd name="T19" fmla="*/ 22 h 124"/>
                  <a:gd name="T20" fmla="*/ 19 w 55"/>
                  <a:gd name="T21" fmla="*/ 0 h 124"/>
                  <a:gd name="T22" fmla="*/ 24 w 55"/>
                  <a:gd name="T23" fmla="*/ 0 h 124"/>
                  <a:gd name="T24" fmla="*/ 24 w 55"/>
                  <a:gd name="T25" fmla="*/ 24 h 124"/>
                  <a:gd name="T26" fmla="*/ 53 w 55"/>
                  <a:gd name="T27" fmla="*/ 24 h 124"/>
                  <a:gd name="T28" fmla="*/ 53 w 55"/>
                  <a:gd name="T29" fmla="*/ 32 h 124"/>
                  <a:gd name="T30" fmla="*/ 24 w 55"/>
                  <a:gd name="T31" fmla="*/ 32 h 124"/>
                  <a:gd name="T32" fmla="*/ 24 w 55"/>
                  <a:gd name="T33" fmla="*/ 94 h 124"/>
                  <a:gd name="T34" fmla="*/ 28 w 55"/>
                  <a:gd name="T35" fmla="*/ 111 h 124"/>
                  <a:gd name="T36" fmla="*/ 40 w 55"/>
                  <a:gd name="T3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24">
                    <a:moveTo>
                      <a:pt x="40" y="116"/>
                    </a:moveTo>
                    <a:cubicBezTo>
                      <a:pt x="46" y="116"/>
                      <a:pt x="51" y="116"/>
                      <a:pt x="55" y="115"/>
                    </a:cubicBezTo>
                    <a:cubicBezTo>
                      <a:pt x="55" y="122"/>
                      <a:pt x="55" y="122"/>
                      <a:pt x="55" y="122"/>
                    </a:cubicBezTo>
                    <a:cubicBezTo>
                      <a:pt x="51" y="124"/>
                      <a:pt x="46" y="124"/>
                      <a:pt x="40" y="124"/>
                    </a:cubicBezTo>
                    <a:cubicBezTo>
                      <a:pt x="32" y="124"/>
                      <a:pt x="25" y="122"/>
                      <a:pt x="21" y="117"/>
                    </a:cubicBezTo>
                    <a:cubicBezTo>
                      <a:pt x="17" y="113"/>
                      <a:pt x="15" y="105"/>
                      <a:pt x="15" y="95"/>
                    </a:cubicBezTo>
                    <a:cubicBezTo>
                      <a:pt x="15" y="32"/>
                      <a:pt x="15" y="32"/>
                      <a:pt x="15" y="32"/>
                    </a:cubicBezTo>
                    <a:cubicBezTo>
                      <a:pt x="0" y="32"/>
                      <a:pt x="0" y="32"/>
                      <a:pt x="0" y="32"/>
                    </a:cubicBezTo>
                    <a:cubicBezTo>
                      <a:pt x="0" y="26"/>
                      <a:pt x="0" y="26"/>
                      <a:pt x="0" y="26"/>
                    </a:cubicBezTo>
                    <a:cubicBezTo>
                      <a:pt x="15" y="22"/>
                      <a:pt x="15" y="22"/>
                      <a:pt x="15" y="22"/>
                    </a:cubicBezTo>
                    <a:cubicBezTo>
                      <a:pt x="19" y="0"/>
                      <a:pt x="19" y="0"/>
                      <a:pt x="19" y="0"/>
                    </a:cubicBezTo>
                    <a:cubicBezTo>
                      <a:pt x="24" y="0"/>
                      <a:pt x="24" y="0"/>
                      <a:pt x="24" y="0"/>
                    </a:cubicBezTo>
                    <a:cubicBezTo>
                      <a:pt x="24" y="24"/>
                      <a:pt x="24" y="24"/>
                      <a:pt x="24" y="24"/>
                    </a:cubicBezTo>
                    <a:cubicBezTo>
                      <a:pt x="53" y="24"/>
                      <a:pt x="53" y="24"/>
                      <a:pt x="53" y="24"/>
                    </a:cubicBezTo>
                    <a:cubicBezTo>
                      <a:pt x="53" y="32"/>
                      <a:pt x="53" y="32"/>
                      <a:pt x="53" y="32"/>
                    </a:cubicBezTo>
                    <a:cubicBezTo>
                      <a:pt x="24" y="32"/>
                      <a:pt x="24" y="32"/>
                      <a:pt x="24" y="32"/>
                    </a:cubicBezTo>
                    <a:cubicBezTo>
                      <a:pt x="24" y="94"/>
                      <a:pt x="24" y="94"/>
                      <a:pt x="24" y="94"/>
                    </a:cubicBezTo>
                    <a:cubicBezTo>
                      <a:pt x="24" y="102"/>
                      <a:pt x="25" y="107"/>
                      <a:pt x="28" y="111"/>
                    </a:cubicBezTo>
                    <a:cubicBezTo>
                      <a:pt x="31" y="115"/>
                      <a:pt x="35" y="116"/>
                      <a:pt x="40" y="116"/>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831"/>
              <p:cNvSpPr>
                <a:spLocks noEditPoints="1"/>
              </p:cNvSpPr>
              <p:nvPr/>
            </p:nvSpPr>
            <p:spPr bwMode="auto">
              <a:xfrm>
                <a:off x="3250123" y="4473396"/>
                <a:ext cx="112278" cy="141489"/>
              </a:xfrm>
              <a:custGeom>
                <a:avLst/>
                <a:gdLst>
                  <a:gd name="T0" fmla="*/ 46 w 81"/>
                  <a:gd name="T1" fmla="*/ 102 h 102"/>
                  <a:gd name="T2" fmla="*/ 12 w 81"/>
                  <a:gd name="T3" fmla="*/ 89 h 102"/>
                  <a:gd name="T4" fmla="*/ 0 w 81"/>
                  <a:gd name="T5" fmla="*/ 52 h 102"/>
                  <a:gd name="T6" fmla="*/ 12 w 81"/>
                  <a:gd name="T7" fmla="*/ 14 h 102"/>
                  <a:gd name="T8" fmla="*/ 43 w 81"/>
                  <a:gd name="T9" fmla="*/ 0 h 102"/>
                  <a:gd name="T10" fmla="*/ 71 w 81"/>
                  <a:gd name="T11" fmla="*/ 12 h 102"/>
                  <a:gd name="T12" fmla="*/ 81 w 81"/>
                  <a:gd name="T13" fmla="*/ 45 h 102"/>
                  <a:gd name="T14" fmla="*/ 81 w 81"/>
                  <a:gd name="T15" fmla="*/ 52 h 102"/>
                  <a:gd name="T16" fmla="*/ 10 w 81"/>
                  <a:gd name="T17" fmla="*/ 52 h 102"/>
                  <a:gd name="T18" fmla="*/ 19 w 81"/>
                  <a:gd name="T19" fmla="*/ 84 h 102"/>
                  <a:gd name="T20" fmla="*/ 46 w 81"/>
                  <a:gd name="T21" fmla="*/ 94 h 102"/>
                  <a:gd name="T22" fmla="*/ 61 w 81"/>
                  <a:gd name="T23" fmla="*/ 93 h 102"/>
                  <a:gd name="T24" fmla="*/ 77 w 81"/>
                  <a:gd name="T25" fmla="*/ 88 h 102"/>
                  <a:gd name="T26" fmla="*/ 77 w 81"/>
                  <a:gd name="T27" fmla="*/ 96 h 102"/>
                  <a:gd name="T28" fmla="*/ 62 w 81"/>
                  <a:gd name="T29" fmla="*/ 101 h 102"/>
                  <a:gd name="T30" fmla="*/ 46 w 81"/>
                  <a:gd name="T31" fmla="*/ 102 h 102"/>
                  <a:gd name="T32" fmla="*/ 43 w 81"/>
                  <a:gd name="T33" fmla="*/ 8 h 102"/>
                  <a:gd name="T34" fmla="*/ 20 w 81"/>
                  <a:gd name="T35" fmla="*/ 17 h 102"/>
                  <a:gd name="T36" fmla="*/ 10 w 81"/>
                  <a:gd name="T37" fmla="*/ 44 h 102"/>
                  <a:gd name="T38" fmla="*/ 71 w 81"/>
                  <a:gd name="T39" fmla="*/ 44 h 102"/>
                  <a:gd name="T40" fmla="*/ 64 w 81"/>
                  <a:gd name="T41" fmla="*/ 18 h 102"/>
                  <a:gd name="T42" fmla="*/ 43 w 81"/>
                  <a:gd name="T4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102">
                    <a:moveTo>
                      <a:pt x="46" y="102"/>
                    </a:moveTo>
                    <a:cubicBezTo>
                      <a:pt x="32" y="102"/>
                      <a:pt x="20" y="98"/>
                      <a:pt x="12" y="89"/>
                    </a:cubicBezTo>
                    <a:cubicBezTo>
                      <a:pt x="4" y="80"/>
                      <a:pt x="0" y="68"/>
                      <a:pt x="0" y="52"/>
                    </a:cubicBezTo>
                    <a:cubicBezTo>
                      <a:pt x="0" y="36"/>
                      <a:pt x="4" y="24"/>
                      <a:pt x="12" y="14"/>
                    </a:cubicBezTo>
                    <a:cubicBezTo>
                      <a:pt x="20" y="5"/>
                      <a:pt x="30" y="0"/>
                      <a:pt x="43" y="0"/>
                    </a:cubicBezTo>
                    <a:cubicBezTo>
                      <a:pt x="55" y="0"/>
                      <a:pt x="64" y="4"/>
                      <a:pt x="71" y="12"/>
                    </a:cubicBezTo>
                    <a:cubicBezTo>
                      <a:pt x="77" y="20"/>
                      <a:pt x="81" y="31"/>
                      <a:pt x="81" y="45"/>
                    </a:cubicBezTo>
                    <a:cubicBezTo>
                      <a:pt x="81" y="52"/>
                      <a:pt x="81" y="52"/>
                      <a:pt x="81" y="52"/>
                    </a:cubicBezTo>
                    <a:cubicBezTo>
                      <a:pt x="10" y="52"/>
                      <a:pt x="10" y="52"/>
                      <a:pt x="10" y="52"/>
                    </a:cubicBezTo>
                    <a:cubicBezTo>
                      <a:pt x="10" y="66"/>
                      <a:pt x="13" y="76"/>
                      <a:pt x="19" y="84"/>
                    </a:cubicBezTo>
                    <a:cubicBezTo>
                      <a:pt x="25" y="91"/>
                      <a:pt x="34" y="94"/>
                      <a:pt x="46" y="94"/>
                    </a:cubicBezTo>
                    <a:cubicBezTo>
                      <a:pt x="52" y="94"/>
                      <a:pt x="56" y="94"/>
                      <a:pt x="61" y="93"/>
                    </a:cubicBezTo>
                    <a:cubicBezTo>
                      <a:pt x="65" y="92"/>
                      <a:pt x="70" y="91"/>
                      <a:pt x="77" y="88"/>
                    </a:cubicBezTo>
                    <a:cubicBezTo>
                      <a:pt x="77" y="96"/>
                      <a:pt x="77" y="96"/>
                      <a:pt x="77" y="96"/>
                    </a:cubicBezTo>
                    <a:cubicBezTo>
                      <a:pt x="71" y="99"/>
                      <a:pt x="66" y="100"/>
                      <a:pt x="62" y="101"/>
                    </a:cubicBezTo>
                    <a:cubicBezTo>
                      <a:pt x="57" y="102"/>
                      <a:pt x="52" y="102"/>
                      <a:pt x="46" y="102"/>
                    </a:cubicBezTo>
                    <a:close/>
                    <a:moveTo>
                      <a:pt x="43" y="8"/>
                    </a:moveTo>
                    <a:cubicBezTo>
                      <a:pt x="34" y="8"/>
                      <a:pt x="26" y="11"/>
                      <a:pt x="20" y="17"/>
                    </a:cubicBezTo>
                    <a:cubicBezTo>
                      <a:pt x="15" y="24"/>
                      <a:pt x="11" y="33"/>
                      <a:pt x="10" y="44"/>
                    </a:cubicBezTo>
                    <a:cubicBezTo>
                      <a:pt x="71" y="44"/>
                      <a:pt x="71" y="44"/>
                      <a:pt x="71" y="44"/>
                    </a:cubicBezTo>
                    <a:cubicBezTo>
                      <a:pt x="71" y="33"/>
                      <a:pt x="69" y="24"/>
                      <a:pt x="64" y="18"/>
                    </a:cubicBezTo>
                    <a:cubicBezTo>
                      <a:pt x="59" y="11"/>
                      <a:pt x="52" y="8"/>
                      <a:pt x="43" y="8"/>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832"/>
              <p:cNvSpPr>
                <a:spLocks noEditPoints="1"/>
              </p:cNvSpPr>
              <p:nvPr/>
            </p:nvSpPr>
            <p:spPr bwMode="auto">
              <a:xfrm>
                <a:off x="3382483" y="4473396"/>
                <a:ext cx="103150" cy="141489"/>
              </a:xfrm>
              <a:custGeom>
                <a:avLst/>
                <a:gdLst>
                  <a:gd name="T0" fmla="*/ 67 w 74"/>
                  <a:gd name="T1" fmla="*/ 101 h 102"/>
                  <a:gd name="T2" fmla="*/ 65 w 74"/>
                  <a:gd name="T3" fmla="*/ 85 h 102"/>
                  <a:gd name="T4" fmla="*/ 64 w 74"/>
                  <a:gd name="T5" fmla="*/ 85 h 102"/>
                  <a:gd name="T6" fmla="*/ 49 w 74"/>
                  <a:gd name="T7" fmla="*/ 98 h 102"/>
                  <a:gd name="T8" fmla="*/ 30 w 74"/>
                  <a:gd name="T9" fmla="*/ 102 h 102"/>
                  <a:gd name="T10" fmla="*/ 8 w 74"/>
                  <a:gd name="T11" fmla="*/ 95 h 102"/>
                  <a:gd name="T12" fmla="*/ 0 w 74"/>
                  <a:gd name="T13" fmla="*/ 74 h 102"/>
                  <a:gd name="T14" fmla="*/ 12 w 74"/>
                  <a:gd name="T15" fmla="*/ 52 h 102"/>
                  <a:gd name="T16" fmla="*/ 47 w 74"/>
                  <a:gd name="T17" fmla="*/ 43 h 102"/>
                  <a:gd name="T18" fmla="*/ 65 w 74"/>
                  <a:gd name="T19" fmla="*/ 43 h 102"/>
                  <a:gd name="T20" fmla="*/ 65 w 74"/>
                  <a:gd name="T21" fmla="*/ 36 h 102"/>
                  <a:gd name="T22" fmla="*/ 60 w 74"/>
                  <a:gd name="T23" fmla="*/ 15 h 102"/>
                  <a:gd name="T24" fmla="*/ 41 w 74"/>
                  <a:gd name="T25" fmla="*/ 8 h 102"/>
                  <a:gd name="T26" fmla="*/ 13 w 74"/>
                  <a:gd name="T27" fmla="*/ 16 h 102"/>
                  <a:gd name="T28" fmla="*/ 10 w 74"/>
                  <a:gd name="T29" fmla="*/ 8 h 102"/>
                  <a:gd name="T30" fmla="*/ 42 w 74"/>
                  <a:gd name="T31" fmla="*/ 0 h 102"/>
                  <a:gd name="T32" fmla="*/ 66 w 74"/>
                  <a:gd name="T33" fmla="*/ 9 h 102"/>
                  <a:gd name="T34" fmla="*/ 74 w 74"/>
                  <a:gd name="T35" fmla="*/ 35 h 102"/>
                  <a:gd name="T36" fmla="*/ 74 w 74"/>
                  <a:gd name="T37" fmla="*/ 101 h 102"/>
                  <a:gd name="T38" fmla="*/ 67 w 74"/>
                  <a:gd name="T39" fmla="*/ 101 h 102"/>
                  <a:gd name="T40" fmla="*/ 31 w 74"/>
                  <a:gd name="T41" fmla="*/ 94 h 102"/>
                  <a:gd name="T42" fmla="*/ 56 w 74"/>
                  <a:gd name="T43" fmla="*/ 85 h 102"/>
                  <a:gd name="T44" fmla="*/ 65 w 74"/>
                  <a:gd name="T45" fmla="*/ 60 h 102"/>
                  <a:gd name="T46" fmla="*/ 65 w 74"/>
                  <a:gd name="T47" fmla="*/ 50 h 102"/>
                  <a:gd name="T48" fmla="*/ 48 w 74"/>
                  <a:gd name="T49" fmla="*/ 51 h 102"/>
                  <a:gd name="T50" fmla="*/ 18 w 74"/>
                  <a:gd name="T51" fmla="*/ 58 h 102"/>
                  <a:gd name="T52" fmla="*/ 9 w 74"/>
                  <a:gd name="T53" fmla="*/ 75 h 102"/>
                  <a:gd name="T54" fmla="*/ 15 w 74"/>
                  <a:gd name="T55" fmla="*/ 89 h 102"/>
                  <a:gd name="T56" fmla="*/ 31 w 74"/>
                  <a:gd name="T5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102">
                    <a:moveTo>
                      <a:pt x="67" y="101"/>
                    </a:moveTo>
                    <a:cubicBezTo>
                      <a:pt x="65" y="85"/>
                      <a:pt x="65" y="85"/>
                      <a:pt x="65" y="85"/>
                    </a:cubicBezTo>
                    <a:cubicBezTo>
                      <a:pt x="64" y="85"/>
                      <a:pt x="64" y="85"/>
                      <a:pt x="64" y="85"/>
                    </a:cubicBezTo>
                    <a:cubicBezTo>
                      <a:pt x="59" y="91"/>
                      <a:pt x="54" y="96"/>
                      <a:pt x="49" y="98"/>
                    </a:cubicBezTo>
                    <a:cubicBezTo>
                      <a:pt x="44" y="101"/>
                      <a:pt x="38" y="102"/>
                      <a:pt x="30" y="102"/>
                    </a:cubicBezTo>
                    <a:cubicBezTo>
                      <a:pt x="21" y="102"/>
                      <a:pt x="13" y="100"/>
                      <a:pt x="8" y="95"/>
                    </a:cubicBezTo>
                    <a:cubicBezTo>
                      <a:pt x="2" y="90"/>
                      <a:pt x="0" y="83"/>
                      <a:pt x="0" y="74"/>
                    </a:cubicBezTo>
                    <a:cubicBezTo>
                      <a:pt x="0" y="65"/>
                      <a:pt x="4" y="57"/>
                      <a:pt x="12" y="52"/>
                    </a:cubicBezTo>
                    <a:cubicBezTo>
                      <a:pt x="20" y="47"/>
                      <a:pt x="31" y="44"/>
                      <a:pt x="47" y="43"/>
                    </a:cubicBezTo>
                    <a:cubicBezTo>
                      <a:pt x="65" y="43"/>
                      <a:pt x="65" y="43"/>
                      <a:pt x="65" y="43"/>
                    </a:cubicBezTo>
                    <a:cubicBezTo>
                      <a:pt x="65" y="36"/>
                      <a:pt x="65" y="36"/>
                      <a:pt x="65" y="36"/>
                    </a:cubicBezTo>
                    <a:cubicBezTo>
                      <a:pt x="65" y="27"/>
                      <a:pt x="64" y="20"/>
                      <a:pt x="60" y="15"/>
                    </a:cubicBezTo>
                    <a:cubicBezTo>
                      <a:pt x="56" y="10"/>
                      <a:pt x="50" y="8"/>
                      <a:pt x="41" y="8"/>
                    </a:cubicBezTo>
                    <a:cubicBezTo>
                      <a:pt x="32" y="8"/>
                      <a:pt x="23" y="11"/>
                      <a:pt x="13" y="16"/>
                    </a:cubicBezTo>
                    <a:cubicBezTo>
                      <a:pt x="10" y="8"/>
                      <a:pt x="10" y="8"/>
                      <a:pt x="10" y="8"/>
                    </a:cubicBezTo>
                    <a:cubicBezTo>
                      <a:pt x="20" y="3"/>
                      <a:pt x="31" y="0"/>
                      <a:pt x="42" y="0"/>
                    </a:cubicBezTo>
                    <a:cubicBezTo>
                      <a:pt x="52" y="0"/>
                      <a:pt x="61" y="3"/>
                      <a:pt x="66" y="9"/>
                    </a:cubicBezTo>
                    <a:cubicBezTo>
                      <a:pt x="71" y="14"/>
                      <a:pt x="74" y="23"/>
                      <a:pt x="74" y="35"/>
                    </a:cubicBezTo>
                    <a:cubicBezTo>
                      <a:pt x="74" y="101"/>
                      <a:pt x="74" y="101"/>
                      <a:pt x="74" y="101"/>
                    </a:cubicBezTo>
                    <a:lnTo>
                      <a:pt x="67" y="101"/>
                    </a:lnTo>
                    <a:close/>
                    <a:moveTo>
                      <a:pt x="31" y="94"/>
                    </a:moveTo>
                    <a:cubicBezTo>
                      <a:pt x="42" y="94"/>
                      <a:pt x="50" y="91"/>
                      <a:pt x="56" y="85"/>
                    </a:cubicBezTo>
                    <a:cubicBezTo>
                      <a:pt x="62" y="79"/>
                      <a:pt x="65" y="71"/>
                      <a:pt x="65" y="60"/>
                    </a:cubicBezTo>
                    <a:cubicBezTo>
                      <a:pt x="65" y="50"/>
                      <a:pt x="65" y="50"/>
                      <a:pt x="65" y="50"/>
                    </a:cubicBezTo>
                    <a:cubicBezTo>
                      <a:pt x="48" y="51"/>
                      <a:pt x="48" y="51"/>
                      <a:pt x="48" y="51"/>
                    </a:cubicBezTo>
                    <a:cubicBezTo>
                      <a:pt x="34" y="52"/>
                      <a:pt x="24" y="54"/>
                      <a:pt x="18" y="58"/>
                    </a:cubicBezTo>
                    <a:cubicBezTo>
                      <a:pt x="12" y="61"/>
                      <a:pt x="9" y="67"/>
                      <a:pt x="9" y="75"/>
                    </a:cubicBezTo>
                    <a:cubicBezTo>
                      <a:pt x="9" y="81"/>
                      <a:pt x="11" y="86"/>
                      <a:pt x="15" y="89"/>
                    </a:cubicBezTo>
                    <a:cubicBezTo>
                      <a:pt x="19" y="93"/>
                      <a:pt x="24" y="94"/>
                      <a:pt x="31"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833"/>
              <p:cNvSpPr>
                <a:spLocks/>
              </p:cNvSpPr>
              <p:nvPr/>
            </p:nvSpPr>
            <p:spPr bwMode="auto">
              <a:xfrm>
                <a:off x="3522146" y="4473396"/>
                <a:ext cx="183479" cy="139663"/>
              </a:xfrm>
              <a:custGeom>
                <a:avLst/>
                <a:gdLst>
                  <a:gd name="T0" fmla="*/ 124 w 132"/>
                  <a:gd name="T1" fmla="*/ 101 h 101"/>
                  <a:gd name="T2" fmla="*/ 124 w 132"/>
                  <a:gd name="T3" fmla="*/ 36 h 101"/>
                  <a:gd name="T4" fmla="*/ 118 w 132"/>
                  <a:gd name="T5" fmla="*/ 15 h 101"/>
                  <a:gd name="T6" fmla="*/ 101 w 132"/>
                  <a:gd name="T7" fmla="*/ 8 h 101"/>
                  <a:gd name="T8" fmla="*/ 78 w 132"/>
                  <a:gd name="T9" fmla="*/ 17 h 101"/>
                  <a:gd name="T10" fmla="*/ 71 w 132"/>
                  <a:gd name="T11" fmla="*/ 43 h 101"/>
                  <a:gd name="T12" fmla="*/ 71 w 132"/>
                  <a:gd name="T13" fmla="*/ 101 h 101"/>
                  <a:gd name="T14" fmla="*/ 62 w 132"/>
                  <a:gd name="T15" fmla="*/ 101 h 101"/>
                  <a:gd name="T16" fmla="*/ 62 w 132"/>
                  <a:gd name="T17" fmla="*/ 33 h 101"/>
                  <a:gd name="T18" fmla="*/ 39 w 132"/>
                  <a:gd name="T19" fmla="*/ 8 h 101"/>
                  <a:gd name="T20" fmla="*/ 16 w 132"/>
                  <a:gd name="T21" fmla="*/ 17 h 101"/>
                  <a:gd name="T22" fmla="*/ 9 w 132"/>
                  <a:gd name="T23" fmla="*/ 46 h 101"/>
                  <a:gd name="T24" fmla="*/ 9 w 132"/>
                  <a:gd name="T25" fmla="*/ 101 h 101"/>
                  <a:gd name="T26" fmla="*/ 0 w 132"/>
                  <a:gd name="T27" fmla="*/ 101 h 101"/>
                  <a:gd name="T28" fmla="*/ 0 w 132"/>
                  <a:gd name="T29" fmla="*/ 2 h 101"/>
                  <a:gd name="T30" fmla="*/ 8 w 132"/>
                  <a:gd name="T31" fmla="*/ 2 h 101"/>
                  <a:gd name="T32" fmla="*/ 10 w 132"/>
                  <a:gd name="T33" fmla="*/ 15 h 101"/>
                  <a:gd name="T34" fmla="*/ 10 w 132"/>
                  <a:gd name="T35" fmla="*/ 15 h 101"/>
                  <a:gd name="T36" fmla="*/ 22 w 132"/>
                  <a:gd name="T37" fmla="*/ 4 h 101"/>
                  <a:gd name="T38" fmla="*/ 38 w 132"/>
                  <a:gd name="T39" fmla="*/ 0 h 101"/>
                  <a:gd name="T40" fmla="*/ 68 w 132"/>
                  <a:gd name="T41" fmla="*/ 18 h 101"/>
                  <a:gd name="T42" fmla="*/ 69 w 132"/>
                  <a:gd name="T43" fmla="*/ 18 h 101"/>
                  <a:gd name="T44" fmla="*/ 82 w 132"/>
                  <a:gd name="T45" fmla="*/ 5 h 101"/>
                  <a:gd name="T46" fmla="*/ 100 w 132"/>
                  <a:gd name="T47" fmla="*/ 0 h 101"/>
                  <a:gd name="T48" fmla="*/ 124 w 132"/>
                  <a:gd name="T49" fmla="*/ 9 h 101"/>
                  <a:gd name="T50" fmla="*/ 132 w 132"/>
                  <a:gd name="T51" fmla="*/ 36 h 101"/>
                  <a:gd name="T52" fmla="*/ 132 w 132"/>
                  <a:gd name="T53" fmla="*/ 101 h 101"/>
                  <a:gd name="T54" fmla="*/ 124 w 132"/>
                  <a:gd name="T5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2" h="101">
                    <a:moveTo>
                      <a:pt x="124" y="101"/>
                    </a:moveTo>
                    <a:cubicBezTo>
                      <a:pt x="124" y="36"/>
                      <a:pt x="124" y="36"/>
                      <a:pt x="124" y="36"/>
                    </a:cubicBezTo>
                    <a:cubicBezTo>
                      <a:pt x="124" y="26"/>
                      <a:pt x="122" y="19"/>
                      <a:pt x="118" y="15"/>
                    </a:cubicBezTo>
                    <a:cubicBezTo>
                      <a:pt x="114" y="10"/>
                      <a:pt x="108" y="8"/>
                      <a:pt x="101" y="8"/>
                    </a:cubicBezTo>
                    <a:cubicBezTo>
                      <a:pt x="91" y="8"/>
                      <a:pt x="83" y="11"/>
                      <a:pt x="78" y="17"/>
                    </a:cubicBezTo>
                    <a:cubicBezTo>
                      <a:pt x="73" y="22"/>
                      <a:pt x="71" y="31"/>
                      <a:pt x="71" y="43"/>
                    </a:cubicBezTo>
                    <a:cubicBezTo>
                      <a:pt x="71" y="101"/>
                      <a:pt x="71" y="101"/>
                      <a:pt x="71" y="101"/>
                    </a:cubicBezTo>
                    <a:cubicBezTo>
                      <a:pt x="62" y="101"/>
                      <a:pt x="62" y="101"/>
                      <a:pt x="62" y="101"/>
                    </a:cubicBezTo>
                    <a:cubicBezTo>
                      <a:pt x="62" y="33"/>
                      <a:pt x="62" y="33"/>
                      <a:pt x="62" y="33"/>
                    </a:cubicBezTo>
                    <a:cubicBezTo>
                      <a:pt x="62" y="16"/>
                      <a:pt x="54" y="8"/>
                      <a:pt x="39" y="8"/>
                    </a:cubicBezTo>
                    <a:cubicBezTo>
                      <a:pt x="29" y="8"/>
                      <a:pt x="21" y="11"/>
                      <a:pt x="16" y="17"/>
                    </a:cubicBezTo>
                    <a:cubicBezTo>
                      <a:pt x="12" y="23"/>
                      <a:pt x="9" y="33"/>
                      <a:pt x="9" y="46"/>
                    </a:cubicBezTo>
                    <a:cubicBezTo>
                      <a:pt x="9" y="101"/>
                      <a:pt x="9" y="101"/>
                      <a:pt x="9" y="101"/>
                    </a:cubicBezTo>
                    <a:cubicBezTo>
                      <a:pt x="0" y="101"/>
                      <a:pt x="0" y="101"/>
                      <a:pt x="0" y="101"/>
                    </a:cubicBezTo>
                    <a:cubicBezTo>
                      <a:pt x="0" y="2"/>
                      <a:pt x="0" y="2"/>
                      <a:pt x="0" y="2"/>
                    </a:cubicBezTo>
                    <a:cubicBezTo>
                      <a:pt x="8" y="2"/>
                      <a:pt x="8" y="2"/>
                      <a:pt x="8" y="2"/>
                    </a:cubicBezTo>
                    <a:cubicBezTo>
                      <a:pt x="10" y="15"/>
                      <a:pt x="10" y="15"/>
                      <a:pt x="10" y="15"/>
                    </a:cubicBezTo>
                    <a:cubicBezTo>
                      <a:pt x="10" y="15"/>
                      <a:pt x="10" y="15"/>
                      <a:pt x="10" y="15"/>
                    </a:cubicBezTo>
                    <a:cubicBezTo>
                      <a:pt x="13" y="11"/>
                      <a:pt x="17" y="7"/>
                      <a:pt x="22" y="4"/>
                    </a:cubicBezTo>
                    <a:cubicBezTo>
                      <a:pt x="27" y="1"/>
                      <a:pt x="32" y="0"/>
                      <a:pt x="38" y="0"/>
                    </a:cubicBezTo>
                    <a:cubicBezTo>
                      <a:pt x="54" y="0"/>
                      <a:pt x="64" y="6"/>
                      <a:pt x="68" y="18"/>
                    </a:cubicBezTo>
                    <a:cubicBezTo>
                      <a:pt x="69" y="18"/>
                      <a:pt x="69" y="18"/>
                      <a:pt x="69" y="18"/>
                    </a:cubicBezTo>
                    <a:cubicBezTo>
                      <a:pt x="72" y="12"/>
                      <a:pt x="76" y="8"/>
                      <a:pt x="82" y="5"/>
                    </a:cubicBezTo>
                    <a:cubicBezTo>
                      <a:pt x="87" y="2"/>
                      <a:pt x="93" y="0"/>
                      <a:pt x="100" y="0"/>
                    </a:cubicBezTo>
                    <a:cubicBezTo>
                      <a:pt x="111" y="0"/>
                      <a:pt x="119" y="3"/>
                      <a:pt x="124" y="9"/>
                    </a:cubicBezTo>
                    <a:cubicBezTo>
                      <a:pt x="130" y="14"/>
                      <a:pt x="132" y="24"/>
                      <a:pt x="132" y="36"/>
                    </a:cubicBezTo>
                    <a:cubicBezTo>
                      <a:pt x="132" y="101"/>
                      <a:pt x="132" y="101"/>
                      <a:pt x="132" y="101"/>
                    </a:cubicBezTo>
                    <a:lnTo>
                      <a:pt x="124" y="101"/>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834"/>
              <p:cNvSpPr>
                <a:spLocks noChangeArrowheads="1"/>
              </p:cNvSpPr>
              <p:nvPr/>
            </p:nvSpPr>
            <p:spPr bwMode="auto">
              <a:xfrm>
                <a:off x="3741225" y="4591151"/>
                <a:ext cx="20995" cy="2373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835"/>
              <p:cNvSpPr>
                <a:spLocks/>
              </p:cNvSpPr>
              <p:nvPr/>
            </p:nvSpPr>
            <p:spPr bwMode="auto">
              <a:xfrm>
                <a:off x="3851677" y="4425929"/>
                <a:ext cx="152443" cy="188956"/>
              </a:xfrm>
              <a:custGeom>
                <a:avLst/>
                <a:gdLst>
                  <a:gd name="T0" fmla="*/ 65 w 110"/>
                  <a:gd name="T1" fmla="*/ 65 h 136"/>
                  <a:gd name="T2" fmla="*/ 110 w 110"/>
                  <a:gd name="T3" fmla="*/ 65 h 136"/>
                  <a:gd name="T4" fmla="*/ 110 w 110"/>
                  <a:gd name="T5" fmla="*/ 130 h 136"/>
                  <a:gd name="T6" fmla="*/ 89 w 110"/>
                  <a:gd name="T7" fmla="*/ 135 h 136"/>
                  <a:gd name="T8" fmla="*/ 64 w 110"/>
                  <a:gd name="T9" fmla="*/ 136 h 136"/>
                  <a:gd name="T10" fmla="*/ 17 w 110"/>
                  <a:gd name="T11" fmla="*/ 118 h 136"/>
                  <a:gd name="T12" fmla="*/ 0 w 110"/>
                  <a:gd name="T13" fmla="*/ 68 h 136"/>
                  <a:gd name="T14" fmla="*/ 8 w 110"/>
                  <a:gd name="T15" fmla="*/ 32 h 136"/>
                  <a:gd name="T16" fmla="*/ 32 w 110"/>
                  <a:gd name="T17" fmla="*/ 8 h 136"/>
                  <a:gd name="T18" fmla="*/ 69 w 110"/>
                  <a:gd name="T19" fmla="*/ 0 h 136"/>
                  <a:gd name="T20" fmla="*/ 108 w 110"/>
                  <a:gd name="T21" fmla="*/ 8 h 136"/>
                  <a:gd name="T22" fmla="*/ 102 w 110"/>
                  <a:gd name="T23" fmla="*/ 21 h 136"/>
                  <a:gd name="T24" fmla="*/ 68 w 110"/>
                  <a:gd name="T25" fmla="*/ 14 h 136"/>
                  <a:gd name="T26" fmla="*/ 30 w 110"/>
                  <a:gd name="T27" fmla="*/ 28 h 136"/>
                  <a:gd name="T28" fmla="*/ 16 w 110"/>
                  <a:gd name="T29" fmla="*/ 68 h 136"/>
                  <a:gd name="T30" fmla="*/ 29 w 110"/>
                  <a:gd name="T31" fmla="*/ 109 h 136"/>
                  <a:gd name="T32" fmla="*/ 68 w 110"/>
                  <a:gd name="T33" fmla="*/ 123 h 136"/>
                  <a:gd name="T34" fmla="*/ 95 w 110"/>
                  <a:gd name="T35" fmla="*/ 120 h 136"/>
                  <a:gd name="T36" fmla="*/ 95 w 110"/>
                  <a:gd name="T37" fmla="*/ 79 h 136"/>
                  <a:gd name="T38" fmla="*/ 65 w 110"/>
                  <a:gd name="T39" fmla="*/ 79 h 136"/>
                  <a:gd name="T40" fmla="*/ 65 w 110"/>
                  <a:gd name="T41" fmla="*/ 6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36">
                    <a:moveTo>
                      <a:pt x="65" y="65"/>
                    </a:moveTo>
                    <a:cubicBezTo>
                      <a:pt x="110" y="65"/>
                      <a:pt x="110" y="65"/>
                      <a:pt x="110" y="65"/>
                    </a:cubicBezTo>
                    <a:cubicBezTo>
                      <a:pt x="110" y="130"/>
                      <a:pt x="110" y="130"/>
                      <a:pt x="110" y="130"/>
                    </a:cubicBezTo>
                    <a:cubicBezTo>
                      <a:pt x="103" y="132"/>
                      <a:pt x="96" y="134"/>
                      <a:pt x="89" y="135"/>
                    </a:cubicBezTo>
                    <a:cubicBezTo>
                      <a:pt x="81" y="136"/>
                      <a:pt x="73" y="136"/>
                      <a:pt x="64" y="136"/>
                    </a:cubicBezTo>
                    <a:cubicBezTo>
                      <a:pt x="43" y="136"/>
                      <a:pt x="28" y="130"/>
                      <a:pt x="17" y="118"/>
                    </a:cubicBezTo>
                    <a:cubicBezTo>
                      <a:pt x="5" y="107"/>
                      <a:pt x="0" y="90"/>
                      <a:pt x="0" y="68"/>
                    </a:cubicBezTo>
                    <a:cubicBezTo>
                      <a:pt x="0" y="54"/>
                      <a:pt x="3" y="42"/>
                      <a:pt x="8" y="32"/>
                    </a:cubicBezTo>
                    <a:cubicBezTo>
                      <a:pt x="14" y="22"/>
                      <a:pt x="22" y="14"/>
                      <a:pt x="32" y="8"/>
                    </a:cubicBezTo>
                    <a:cubicBezTo>
                      <a:pt x="42" y="3"/>
                      <a:pt x="55" y="0"/>
                      <a:pt x="69" y="0"/>
                    </a:cubicBezTo>
                    <a:cubicBezTo>
                      <a:pt x="83" y="0"/>
                      <a:pt x="96" y="3"/>
                      <a:pt x="108" y="8"/>
                    </a:cubicBezTo>
                    <a:cubicBezTo>
                      <a:pt x="102" y="21"/>
                      <a:pt x="102" y="21"/>
                      <a:pt x="102" y="21"/>
                    </a:cubicBezTo>
                    <a:cubicBezTo>
                      <a:pt x="90" y="16"/>
                      <a:pt x="79" y="14"/>
                      <a:pt x="68" y="14"/>
                    </a:cubicBezTo>
                    <a:cubicBezTo>
                      <a:pt x="51" y="14"/>
                      <a:pt x="39" y="19"/>
                      <a:pt x="30" y="28"/>
                    </a:cubicBezTo>
                    <a:cubicBezTo>
                      <a:pt x="21" y="38"/>
                      <a:pt x="16" y="51"/>
                      <a:pt x="16" y="68"/>
                    </a:cubicBezTo>
                    <a:cubicBezTo>
                      <a:pt x="16" y="86"/>
                      <a:pt x="20" y="100"/>
                      <a:pt x="29" y="109"/>
                    </a:cubicBezTo>
                    <a:cubicBezTo>
                      <a:pt x="38" y="118"/>
                      <a:pt x="51" y="123"/>
                      <a:pt x="68" y="123"/>
                    </a:cubicBezTo>
                    <a:cubicBezTo>
                      <a:pt x="77" y="123"/>
                      <a:pt x="86" y="122"/>
                      <a:pt x="95" y="120"/>
                    </a:cubicBezTo>
                    <a:cubicBezTo>
                      <a:pt x="95" y="79"/>
                      <a:pt x="95" y="79"/>
                      <a:pt x="95" y="79"/>
                    </a:cubicBezTo>
                    <a:cubicBezTo>
                      <a:pt x="65" y="79"/>
                      <a:pt x="65" y="79"/>
                      <a:pt x="65" y="79"/>
                    </a:cubicBezTo>
                    <a:lnTo>
                      <a:pt x="65" y="65"/>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836"/>
              <p:cNvSpPr>
                <a:spLocks noChangeArrowheads="1"/>
              </p:cNvSpPr>
              <p:nvPr/>
            </p:nvSpPr>
            <p:spPr bwMode="auto">
              <a:xfrm>
                <a:off x="4038808" y="4416801"/>
                <a:ext cx="20995" cy="196258"/>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37"/>
              <p:cNvSpPr>
                <a:spLocks noEditPoints="1"/>
              </p:cNvSpPr>
              <p:nvPr/>
            </p:nvSpPr>
            <p:spPr bwMode="auto">
              <a:xfrm>
                <a:off x="4089926" y="4471570"/>
                <a:ext cx="125970" cy="143314"/>
              </a:xfrm>
              <a:custGeom>
                <a:avLst/>
                <a:gdLst>
                  <a:gd name="T0" fmla="*/ 91 w 91"/>
                  <a:gd name="T1" fmla="*/ 52 h 103"/>
                  <a:gd name="T2" fmla="*/ 79 w 91"/>
                  <a:gd name="T3" fmla="*/ 90 h 103"/>
                  <a:gd name="T4" fmla="*/ 45 w 91"/>
                  <a:gd name="T5" fmla="*/ 103 h 103"/>
                  <a:gd name="T6" fmla="*/ 22 w 91"/>
                  <a:gd name="T7" fmla="*/ 97 h 103"/>
                  <a:gd name="T8" fmla="*/ 6 w 91"/>
                  <a:gd name="T9" fmla="*/ 79 h 103"/>
                  <a:gd name="T10" fmla="*/ 0 w 91"/>
                  <a:gd name="T11" fmla="*/ 52 h 103"/>
                  <a:gd name="T12" fmla="*/ 12 w 91"/>
                  <a:gd name="T13" fmla="*/ 14 h 103"/>
                  <a:gd name="T14" fmla="*/ 46 w 91"/>
                  <a:gd name="T15" fmla="*/ 0 h 103"/>
                  <a:gd name="T16" fmla="*/ 79 w 91"/>
                  <a:gd name="T17" fmla="*/ 14 h 103"/>
                  <a:gd name="T18" fmla="*/ 91 w 91"/>
                  <a:gd name="T19" fmla="*/ 52 h 103"/>
                  <a:gd name="T20" fmla="*/ 16 w 91"/>
                  <a:gd name="T21" fmla="*/ 52 h 103"/>
                  <a:gd name="T22" fmla="*/ 23 w 91"/>
                  <a:gd name="T23" fmla="*/ 81 h 103"/>
                  <a:gd name="T24" fmla="*/ 46 w 91"/>
                  <a:gd name="T25" fmla="*/ 91 h 103"/>
                  <a:gd name="T26" fmla="*/ 68 w 91"/>
                  <a:gd name="T27" fmla="*/ 81 h 103"/>
                  <a:gd name="T28" fmla="*/ 76 w 91"/>
                  <a:gd name="T29" fmla="*/ 52 h 103"/>
                  <a:gd name="T30" fmla="*/ 68 w 91"/>
                  <a:gd name="T31" fmla="*/ 23 h 103"/>
                  <a:gd name="T32" fmla="*/ 45 w 91"/>
                  <a:gd name="T33" fmla="*/ 13 h 103"/>
                  <a:gd name="T34" fmla="*/ 23 w 91"/>
                  <a:gd name="T35" fmla="*/ 23 h 103"/>
                  <a:gd name="T36" fmla="*/ 16 w 91"/>
                  <a:gd name="T37"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03">
                    <a:moveTo>
                      <a:pt x="91" y="52"/>
                    </a:moveTo>
                    <a:cubicBezTo>
                      <a:pt x="91" y="68"/>
                      <a:pt x="87" y="81"/>
                      <a:pt x="79" y="90"/>
                    </a:cubicBezTo>
                    <a:cubicBezTo>
                      <a:pt x="71" y="99"/>
                      <a:pt x="60" y="103"/>
                      <a:pt x="45" y="103"/>
                    </a:cubicBezTo>
                    <a:cubicBezTo>
                      <a:pt x="36" y="103"/>
                      <a:pt x="28" y="101"/>
                      <a:pt x="22" y="97"/>
                    </a:cubicBezTo>
                    <a:cubicBezTo>
                      <a:pt x="15" y="93"/>
                      <a:pt x="9" y="87"/>
                      <a:pt x="6" y="79"/>
                    </a:cubicBezTo>
                    <a:cubicBezTo>
                      <a:pt x="2" y="71"/>
                      <a:pt x="0" y="62"/>
                      <a:pt x="0" y="52"/>
                    </a:cubicBezTo>
                    <a:cubicBezTo>
                      <a:pt x="0" y="36"/>
                      <a:pt x="4" y="23"/>
                      <a:pt x="12" y="14"/>
                    </a:cubicBezTo>
                    <a:cubicBezTo>
                      <a:pt x="20" y="5"/>
                      <a:pt x="31" y="0"/>
                      <a:pt x="46" y="0"/>
                    </a:cubicBezTo>
                    <a:cubicBezTo>
                      <a:pt x="60" y="0"/>
                      <a:pt x="71" y="5"/>
                      <a:pt x="79" y="14"/>
                    </a:cubicBezTo>
                    <a:cubicBezTo>
                      <a:pt x="87" y="23"/>
                      <a:pt x="91" y="36"/>
                      <a:pt x="91" y="52"/>
                    </a:cubicBezTo>
                    <a:close/>
                    <a:moveTo>
                      <a:pt x="16" y="52"/>
                    </a:moveTo>
                    <a:cubicBezTo>
                      <a:pt x="16" y="64"/>
                      <a:pt x="18" y="74"/>
                      <a:pt x="23" y="81"/>
                    </a:cubicBezTo>
                    <a:cubicBezTo>
                      <a:pt x="28" y="87"/>
                      <a:pt x="36" y="91"/>
                      <a:pt x="46" y="91"/>
                    </a:cubicBezTo>
                    <a:cubicBezTo>
                      <a:pt x="55" y="91"/>
                      <a:pt x="63" y="87"/>
                      <a:pt x="68" y="81"/>
                    </a:cubicBezTo>
                    <a:cubicBezTo>
                      <a:pt x="73" y="74"/>
                      <a:pt x="76" y="65"/>
                      <a:pt x="76" y="52"/>
                    </a:cubicBezTo>
                    <a:cubicBezTo>
                      <a:pt x="76" y="39"/>
                      <a:pt x="73" y="29"/>
                      <a:pt x="68" y="23"/>
                    </a:cubicBezTo>
                    <a:cubicBezTo>
                      <a:pt x="63" y="16"/>
                      <a:pt x="55" y="13"/>
                      <a:pt x="45" y="13"/>
                    </a:cubicBezTo>
                    <a:cubicBezTo>
                      <a:pt x="36" y="13"/>
                      <a:pt x="28" y="16"/>
                      <a:pt x="23" y="23"/>
                    </a:cubicBezTo>
                    <a:cubicBezTo>
                      <a:pt x="18" y="29"/>
                      <a:pt x="16" y="39"/>
                      <a:pt x="16" y="52"/>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838"/>
              <p:cNvSpPr>
                <a:spLocks noEditPoints="1"/>
              </p:cNvSpPr>
              <p:nvPr/>
            </p:nvSpPr>
            <p:spPr bwMode="auto">
              <a:xfrm>
                <a:off x="4246020" y="4416801"/>
                <a:ext cx="122319" cy="198084"/>
              </a:xfrm>
              <a:custGeom>
                <a:avLst/>
                <a:gdLst>
                  <a:gd name="T0" fmla="*/ 46 w 88"/>
                  <a:gd name="T1" fmla="*/ 40 h 143"/>
                  <a:gd name="T2" fmla="*/ 77 w 88"/>
                  <a:gd name="T3" fmla="*/ 54 h 143"/>
                  <a:gd name="T4" fmla="*/ 88 w 88"/>
                  <a:gd name="T5" fmla="*/ 92 h 143"/>
                  <a:gd name="T6" fmla="*/ 77 w 88"/>
                  <a:gd name="T7" fmla="*/ 130 h 143"/>
                  <a:gd name="T8" fmla="*/ 46 w 88"/>
                  <a:gd name="T9" fmla="*/ 143 h 143"/>
                  <a:gd name="T10" fmla="*/ 29 w 88"/>
                  <a:gd name="T11" fmla="*/ 140 h 143"/>
                  <a:gd name="T12" fmla="*/ 15 w 88"/>
                  <a:gd name="T13" fmla="*/ 129 h 143"/>
                  <a:gd name="T14" fmla="*/ 14 w 88"/>
                  <a:gd name="T15" fmla="*/ 129 h 143"/>
                  <a:gd name="T16" fmla="*/ 11 w 88"/>
                  <a:gd name="T17" fmla="*/ 142 h 143"/>
                  <a:gd name="T18" fmla="*/ 0 w 88"/>
                  <a:gd name="T19" fmla="*/ 142 h 143"/>
                  <a:gd name="T20" fmla="*/ 0 w 88"/>
                  <a:gd name="T21" fmla="*/ 0 h 143"/>
                  <a:gd name="T22" fmla="*/ 15 w 88"/>
                  <a:gd name="T23" fmla="*/ 0 h 143"/>
                  <a:gd name="T24" fmla="*/ 15 w 88"/>
                  <a:gd name="T25" fmla="*/ 35 h 143"/>
                  <a:gd name="T26" fmla="*/ 14 w 88"/>
                  <a:gd name="T27" fmla="*/ 55 h 143"/>
                  <a:gd name="T28" fmla="*/ 15 w 88"/>
                  <a:gd name="T29" fmla="*/ 55 h 143"/>
                  <a:gd name="T30" fmla="*/ 46 w 88"/>
                  <a:gd name="T31" fmla="*/ 40 h 143"/>
                  <a:gd name="T32" fmla="*/ 44 w 88"/>
                  <a:gd name="T33" fmla="*/ 53 h 143"/>
                  <a:gd name="T34" fmla="*/ 22 w 88"/>
                  <a:gd name="T35" fmla="*/ 62 h 143"/>
                  <a:gd name="T36" fmla="*/ 15 w 88"/>
                  <a:gd name="T37" fmla="*/ 92 h 143"/>
                  <a:gd name="T38" fmla="*/ 22 w 88"/>
                  <a:gd name="T39" fmla="*/ 122 h 143"/>
                  <a:gd name="T40" fmla="*/ 45 w 88"/>
                  <a:gd name="T41" fmla="*/ 131 h 143"/>
                  <a:gd name="T42" fmla="*/ 65 w 88"/>
                  <a:gd name="T43" fmla="*/ 121 h 143"/>
                  <a:gd name="T44" fmla="*/ 72 w 88"/>
                  <a:gd name="T45" fmla="*/ 92 h 143"/>
                  <a:gd name="T46" fmla="*/ 65 w 88"/>
                  <a:gd name="T47" fmla="*/ 63 h 143"/>
                  <a:gd name="T48" fmla="*/ 44 w 88"/>
                  <a:gd name="T49" fmla="*/ 5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43">
                    <a:moveTo>
                      <a:pt x="46" y="40"/>
                    </a:moveTo>
                    <a:cubicBezTo>
                      <a:pt x="59" y="40"/>
                      <a:pt x="70" y="45"/>
                      <a:pt x="77" y="54"/>
                    </a:cubicBezTo>
                    <a:cubicBezTo>
                      <a:pt x="84" y="63"/>
                      <a:pt x="88" y="75"/>
                      <a:pt x="88" y="92"/>
                    </a:cubicBezTo>
                    <a:cubicBezTo>
                      <a:pt x="88" y="108"/>
                      <a:pt x="84" y="121"/>
                      <a:pt x="77" y="130"/>
                    </a:cubicBezTo>
                    <a:cubicBezTo>
                      <a:pt x="69" y="139"/>
                      <a:pt x="59" y="143"/>
                      <a:pt x="46" y="143"/>
                    </a:cubicBezTo>
                    <a:cubicBezTo>
                      <a:pt x="40" y="143"/>
                      <a:pt x="34" y="142"/>
                      <a:pt x="29" y="140"/>
                    </a:cubicBezTo>
                    <a:cubicBezTo>
                      <a:pt x="23" y="137"/>
                      <a:pt x="19" y="134"/>
                      <a:pt x="15" y="129"/>
                    </a:cubicBezTo>
                    <a:cubicBezTo>
                      <a:pt x="14" y="129"/>
                      <a:pt x="14" y="129"/>
                      <a:pt x="14" y="129"/>
                    </a:cubicBezTo>
                    <a:cubicBezTo>
                      <a:pt x="11" y="142"/>
                      <a:pt x="11" y="142"/>
                      <a:pt x="11" y="142"/>
                    </a:cubicBezTo>
                    <a:cubicBezTo>
                      <a:pt x="0" y="142"/>
                      <a:pt x="0" y="142"/>
                      <a:pt x="0" y="142"/>
                    </a:cubicBezTo>
                    <a:cubicBezTo>
                      <a:pt x="0" y="0"/>
                      <a:pt x="0" y="0"/>
                      <a:pt x="0" y="0"/>
                    </a:cubicBezTo>
                    <a:cubicBezTo>
                      <a:pt x="15" y="0"/>
                      <a:pt x="15" y="0"/>
                      <a:pt x="15" y="0"/>
                    </a:cubicBezTo>
                    <a:cubicBezTo>
                      <a:pt x="15" y="35"/>
                      <a:pt x="15" y="35"/>
                      <a:pt x="15" y="35"/>
                    </a:cubicBezTo>
                    <a:cubicBezTo>
                      <a:pt x="15" y="42"/>
                      <a:pt x="15" y="49"/>
                      <a:pt x="14" y="55"/>
                    </a:cubicBezTo>
                    <a:cubicBezTo>
                      <a:pt x="15" y="55"/>
                      <a:pt x="15" y="55"/>
                      <a:pt x="15" y="55"/>
                    </a:cubicBezTo>
                    <a:cubicBezTo>
                      <a:pt x="22" y="45"/>
                      <a:pt x="33" y="40"/>
                      <a:pt x="46" y="40"/>
                    </a:cubicBezTo>
                    <a:close/>
                    <a:moveTo>
                      <a:pt x="44" y="53"/>
                    </a:moveTo>
                    <a:cubicBezTo>
                      <a:pt x="34" y="53"/>
                      <a:pt x="27" y="56"/>
                      <a:pt x="22" y="62"/>
                    </a:cubicBezTo>
                    <a:cubicBezTo>
                      <a:pt x="17" y="68"/>
                      <a:pt x="15" y="78"/>
                      <a:pt x="15" y="92"/>
                    </a:cubicBezTo>
                    <a:cubicBezTo>
                      <a:pt x="15" y="106"/>
                      <a:pt x="18" y="116"/>
                      <a:pt x="22" y="122"/>
                    </a:cubicBezTo>
                    <a:cubicBezTo>
                      <a:pt x="27" y="128"/>
                      <a:pt x="34" y="131"/>
                      <a:pt x="45" y="131"/>
                    </a:cubicBezTo>
                    <a:cubicBezTo>
                      <a:pt x="54" y="131"/>
                      <a:pt x="61" y="127"/>
                      <a:pt x="65" y="121"/>
                    </a:cubicBezTo>
                    <a:cubicBezTo>
                      <a:pt x="70" y="114"/>
                      <a:pt x="72" y="104"/>
                      <a:pt x="72" y="92"/>
                    </a:cubicBezTo>
                    <a:cubicBezTo>
                      <a:pt x="72" y="79"/>
                      <a:pt x="70" y="69"/>
                      <a:pt x="65" y="63"/>
                    </a:cubicBezTo>
                    <a:cubicBezTo>
                      <a:pt x="61" y="56"/>
                      <a:pt x="54" y="53"/>
                      <a:pt x="44" y="53"/>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839"/>
              <p:cNvSpPr>
                <a:spLocks noEditPoints="1"/>
              </p:cNvSpPr>
              <p:nvPr/>
            </p:nvSpPr>
            <p:spPr bwMode="auto">
              <a:xfrm>
                <a:off x="4387508" y="4471570"/>
                <a:ext cx="110452" cy="143314"/>
              </a:xfrm>
              <a:custGeom>
                <a:avLst/>
                <a:gdLst>
                  <a:gd name="T0" fmla="*/ 69 w 80"/>
                  <a:gd name="T1" fmla="*/ 102 h 103"/>
                  <a:gd name="T2" fmla="*/ 66 w 80"/>
                  <a:gd name="T3" fmla="*/ 87 h 103"/>
                  <a:gd name="T4" fmla="*/ 65 w 80"/>
                  <a:gd name="T5" fmla="*/ 87 h 103"/>
                  <a:gd name="T6" fmla="*/ 50 w 80"/>
                  <a:gd name="T7" fmla="*/ 100 h 103"/>
                  <a:gd name="T8" fmla="*/ 32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1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2 h 103"/>
                  <a:gd name="T38" fmla="*/ 69 w 80"/>
                  <a:gd name="T39" fmla="*/ 102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2"/>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7" y="15"/>
                      <a:pt x="51" y="13"/>
                      <a:pt x="44" y="13"/>
                    </a:cubicBezTo>
                    <a:cubicBezTo>
                      <a:pt x="36" y="13"/>
                      <a:pt x="26" y="15"/>
                      <a:pt x="16" y="21"/>
                    </a:cubicBezTo>
                    <a:cubicBezTo>
                      <a:pt x="11" y="9"/>
                      <a:pt x="11" y="9"/>
                      <a:pt x="11" y="9"/>
                    </a:cubicBezTo>
                    <a:cubicBezTo>
                      <a:pt x="16" y="6"/>
                      <a:pt x="21" y="4"/>
                      <a:pt x="27" y="3"/>
                    </a:cubicBezTo>
                    <a:cubicBezTo>
                      <a:pt x="33" y="1"/>
                      <a:pt x="39" y="0"/>
                      <a:pt x="45" y="0"/>
                    </a:cubicBezTo>
                    <a:cubicBezTo>
                      <a:pt x="57" y="0"/>
                      <a:pt x="65" y="3"/>
                      <a:pt x="71" y="8"/>
                    </a:cubicBezTo>
                    <a:cubicBezTo>
                      <a:pt x="77" y="14"/>
                      <a:pt x="80" y="22"/>
                      <a:pt x="80" y="34"/>
                    </a:cubicBezTo>
                    <a:cubicBezTo>
                      <a:pt x="80" y="102"/>
                      <a:pt x="80" y="102"/>
                      <a:pt x="80" y="102"/>
                    </a:cubicBezTo>
                    <a:lnTo>
                      <a:pt x="69" y="102"/>
                    </a:lnTo>
                    <a:close/>
                    <a:moveTo>
                      <a:pt x="35"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6"/>
                      <a:pt x="24" y="59"/>
                    </a:cubicBezTo>
                    <a:cubicBezTo>
                      <a:pt x="18" y="62"/>
                      <a:pt x="16" y="67"/>
                      <a:pt x="16" y="74"/>
                    </a:cubicBezTo>
                    <a:cubicBezTo>
                      <a:pt x="16" y="80"/>
                      <a:pt x="17" y="84"/>
                      <a:pt x="21" y="87"/>
                    </a:cubicBezTo>
                    <a:cubicBezTo>
                      <a:pt x="24" y="90"/>
                      <a:pt x="29" y="91"/>
                      <a:pt x="35" y="91"/>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840"/>
              <p:cNvSpPr>
                <a:spLocks noChangeArrowheads="1"/>
              </p:cNvSpPr>
              <p:nvPr/>
            </p:nvSpPr>
            <p:spPr bwMode="auto">
              <a:xfrm>
                <a:off x="4534474" y="4416801"/>
                <a:ext cx="20995" cy="196258"/>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841"/>
              <p:cNvSpPr>
                <a:spLocks noEditPoints="1"/>
              </p:cNvSpPr>
              <p:nvPr/>
            </p:nvSpPr>
            <p:spPr bwMode="auto">
              <a:xfrm>
                <a:off x="4652229" y="4425929"/>
                <a:ext cx="16431" cy="187130"/>
              </a:xfrm>
              <a:custGeom>
                <a:avLst/>
                <a:gdLst>
                  <a:gd name="T0" fmla="*/ 0 w 12"/>
                  <a:gd name="T1" fmla="*/ 8 h 135"/>
                  <a:gd name="T2" fmla="*/ 6 w 12"/>
                  <a:gd name="T3" fmla="*/ 0 h 135"/>
                  <a:gd name="T4" fmla="*/ 11 w 12"/>
                  <a:gd name="T5" fmla="*/ 2 h 135"/>
                  <a:gd name="T6" fmla="*/ 12 w 12"/>
                  <a:gd name="T7" fmla="*/ 8 h 135"/>
                  <a:gd name="T8" fmla="*/ 11 w 12"/>
                  <a:gd name="T9" fmla="*/ 15 h 135"/>
                  <a:gd name="T10" fmla="*/ 6 w 12"/>
                  <a:gd name="T11" fmla="*/ 17 h 135"/>
                  <a:gd name="T12" fmla="*/ 0 w 12"/>
                  <a:gd name="T13" fmla="*/ 8 h 135"/>
                  <a:gd name="T14" fmla="*/ 11 w 12"/>
                  <a:gd name="T15" fmla="*/ 135 h 135"/>
                  <a:gd name="T16" fmla="*/ 2 w 12"/>
                  <a:gd name="T17" fmla="*/ 135 h 135"/>
                  <a:gd name="T18" fmla="*/ 2 w 12"/>
                  <a:gd name="T19" fmla="*/ 36 h 135"/>
                  <a:gd name="T20" fmla="*/ 11 w 12"/>
                  <a:gd name="T21" fmla="*/ 36 h 135"/>
                  <a:gd name="T22" fmla="*/ 11 w 12"/>
                  <a:gd name="T2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35">
                    <a:moveTo>
                      <a:pt x="0" y="8"/>
                    </a:moveTo>
                    <a:cubicBezTo>
                      <a:pt x="0" y="3"/>
                      <a:pt x="2" y="0"/>
                      <a:pt x="6" y="0"/>
                    </a:cubicBezTo>
                    <a:cubicBezTo>
                      <a:pt x="8" y="0"/>
                      <a:pt x="10" y="1"/>
                      <a:pt x="11" y="2"/>
                    </a:cubicBezTo>
                    <a:cubicBezTo>
                      <a:pt x="12" y="4"/>
                      <a:pt x="12" y="6"/>
                      <a:pt x="12" y="8"/>
                    </a:cubicBezTo>
                    <a:cubicBezTo>
                      <a:pt x="12" y="11"/>
                      <a:pt x="12" y="13"/>
                      <a:pt x="11" y="15"/>
                    </a:cubicBezTo>
                    <a:cubicBezTo>
                      <a:pt x="10" y="17"/>
                      <a:pt x="8" y="17"/>
                      <a:pt x="6" y="17"/>
                    </a:cubicBezTo>
                    <a:cubicBezTo>
                      <a:pt x="2" y="17"/>
                      <a:pt x="0" y="14"/>
                      <a:pt x="0" y="8"/>
                    </a:cubicBezTo>
                    <a:close/>
                    <a:moveTo>
                      <a:pt x="11" y="135"/>
                    </a:moveTo>
                    <a:cubicBezTo>
                      <a:pt x="2" y="135"/>
                      <a:pt x="2" y="135"/>
                      <a:pt x="2" y="135"/>
                    </a:cubicBezTo>
                    <a:cubicBezTo>
                      <a:pt x="2" y="36"/>
                      <a:pt x="2" y="36"/>
                      <a:pt x="2" y="36"/>
                    </a:cubicBezTo>
                    <a:cubicBezTo>
                      <a:pt x="11" y="36"/>
                      <a:pt x="11" y="36"/>
                      <a:pt x="11" y="36"/>
                    </a:cubicBezTo>
                    <a:lnTo>
                      <a:pt x="11" y="135"/>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842"/>
              <p:cNvSpPr>
                <a:spLocks/>
              </p:cNvSpPr>
              <p:nvPr/>
            </p:nvSpPr>
            <p:spPr bwMode="auto">
              <a:xfrm>
                <a:off x="4706086" y="4473396"/>
                <a:ext cx="182566" cy="139663"/>
              </a:xfrm>
              <a:custGeom>
                <a:avLst/>
                <a:gdLst>
                  <a:gd name="T0" fmla="*/ 123 w 132"/>
                  <a:gd name="T1" fmla="*/ 101 h 101"/>
                  <a:gd name="T2" fmla="*/ 123 w 132"/>
                  <a:gd name="T3" fmla="*/ 36 h 101"/>
                  <a:gd name="T4" fmla="*/ 118 w 132"/>
                  <a:gd name="T5" fmla="*/ 15 h 101"/>
                  <a:gd name="T6" fmla="*/ 101 w 132"/>
                  <a:gd name="T7" fmla="*/ 8 h 101"/>
                  <a:gd name="T8" fmla="*/ 78 w 132"/>
                  <a:gd name="T9" fmla="*/ 17 h 101"/>
                  <a:gd name="T10" fmla="*/ 71 w 132"/>
                  <a:gd name="T11" fmla="*/ 43 h 101"/>
                  <a:gd name="T12" fmla="*/ 71 w 132"/>
                  <a:gd name="T13" fmla="*/ 101 h 101"/>
                  <a:gd name="T14" fmla="*/ 62 w 132"/>
                  <a:gd name="T15" fmla="*/ 101 h 101"/>
                  <a:gd name="T16" fmla="*/ 62 w 132"/>
                  <a:gd name="T17" fmla="*/ 33 h 101"/>
                  <a:gd name="T18" fmla="*/ 39 w 132"/>
                  <a:gd name="T19" fmla="*/ 8 h 101"/>
                  <a:gd name="T20" fmla="*/ 16 w 132"/>
                  <a:gd name="T21" fmla="*/ 17 h 101"/>
                  <a:gd name="T22" fmla="*/ 9 w 132"/>
                  <a:gd name="T23" fmla="*/ 46 h 101"/>
                  <a:gd name="T24" fmla="*/ 9 w 132"/>
                  <a:gd name="T25" fmla="*/ 101 h 101"/>
                  <a:gd name="T26" fmla="*/ 0 w 132"/>
                  <a:gd name="T27" fmla="*/ 101 h 101"/>
                  <a:gd name="T28" fmla="*/ 0 w 132"/>
                  <a:gd name="T29" fmla="*/ 2 h 101"/>
                  <a:gd name="T30" fmla="*/ 8 w 132"/>
                  <a:gd name="T31" fmla="*/ 2 h 101"/>
                  <a:gd name="T32" fmla="*/ 9 w 132"/>
                  <a:gd name="T33" fmla="*/ 15 h 101"/>
                  <a:gd name="T34" fmla="*/ 10 w 132"/>
                  <a:gd name="T35" fmla="*/ 15 h 101"/>
                  <a:gd name="T36" fmla="*/ 22 w 132"/>
                  <a:gd name="T37" fmla="*/ 4 h 101"/>
                  <a:gd name="T38" fmla="*/ 38 w 132"/>
                  <a:gd name="T39" fmla="*/ 0 h 101"/>
                  <a:gd name="T40" fmla="*/ 68 w 132"/>
                  <a:gd name="T41" fmla="*/ 18 h 101"/>
                  <a:gd name="T42" fmla="*/ 69 w 132"/>
                  <a:gd name="T43" fmla="*/ 18 h 101"/>
                  <a:gd name="T44" fmla="*/ 81 w 132"/>
                  <a:gd name="T45" fmla="*/ 5 h 101"/>
                  <a:gd name="T46" fmla="*/ 100 w 132"/>
                  <a:gd name="T47" fmla="*/ 0 h 101"/>
                  <a:gd name="T48" fmla="*/ 124 w 132"/>
                  <a:gd name="T49" fmla="*/ 9 h 101"/>
                  <a:gd name="T50" fmla="*/ 132 w 132"/>
                  <a:gd name="T51" fmla="*/ 36 h 101"/>
                  <a:gd name="T52" fmla="*/ 132 w 132"/>
                  <a:gd name="T53" fmla="*/ 101 h 101"/>
                  <a:gd name="T54" fmla="*/ 123 w 132"/>
                  <a:gd name="T5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2" h="101">
                    <a:moveTo>
                      <a:pt x="123" y="101"/>
                    </a:moveTo>
                    <a:cubicBezTo>
                      <a:pt x="123" y="36"/>
                      <a:pt x="123" y="36"/>
                      <a:pt x="123" y="36"/>
                    </a:cubicBezTo>
                    <a:cubicBezTo>
                      <a:pt x="123" y="26"/>
                      <a:pt x="122" y="19"/>
                      <a:pt x="118" y="15"/>
                    </a:cubicBezTo>
                    <a:cubicBezTo>
                      <a:pt x="114" y="10"/>
                      <a:pt x="108" y="8"/>
                      <a:pt x="101" y="8"/>
                    </a:cubicBezTo>
                    <a:cubicBezTo>
                      <a:pt x="90" y="8"/>
                      <a:pt x="83" y="11"/>
                      <a:pt x="78" y="17"/>
                    </a:cubicBezTo>
                    <a:cubicBezTo>
                      <a:pt x="73" y="22"/>
                      <a:pt x="71" y="31"/>
                      <a:pt x="71" y="43"/>
                    </a:cubicBezTo>
                    <a:cubicBezTo>
                      <a:pt x="71" y="101"/>
                      <a:pt x="71" y="101"/>
                      <a:pt x="71" y="101"/>
                    </a:cubicBezTo>
                    <a:cubicBezTo>
                      <a:pt x="62" y="101"/>
                      <a:pt x="62" y="101"/>
                      <a:pt x="62" y="101"/>
                    </a:cubicBezTo>
                    <a:cubicBezTo>
                      <a:pt x="62" y="33"/>
                      <a:pt x="62" y="33"/>
                      <a:pt x="62" y="33"/>
                    </a:cubicBezTo>
                    <a:cubicBezTo>
                      <a:pt x="62" y="16"/>
                      <a:pt x="54" y="8"/>
                      <a:pt x="39" y="8"/>
                    </a:cubicBezTo>
                    <a:cubicBezTo>
                      <a:pt x="28" y="8"/>
                      <a:pt x="21" y="11"/>
                      <a:pt x="16" y="17"/>
                    </a:cubicBezTo>
                    <a:cubicBezTo>
                      <a:pt x="11" y="23"/>
                      <a:pt x="9" y="33"/>
                      <a:pt x="9" y="46"/>
                    </a:cubicBezTo>
                    <a:cubicBezTo>
                      <a:pt x="9" y="101"/>
                      <a:pt x="9" y="101"/>
                      <a:pt x="9" y="101"/>
                    </a:cubicBezTo>
                    <a:cubicBezTo>
                      <a:pt x="0" y="101"/>
                      <a:pt x="0" y="101"/>
                      <a:pt x="0" y="101"/>
                    </a:cubicBezTo>
                    <a:cubicBezTo>
                      <a:pt x="0" y="2"/>
                      <a:pt x="0" y="2"/>
                      <a:pt x="0" y="2"/>
                    </a:cubicBezTo>
                    <a:cubicBezTo>
                      <a:pt x="8" y="2"/>
                      <a:pt x="8" y="2"/>
                      <a:pt x="8" y="2"/>
                    </a:cubicBezTo>
                    <a:cubicBezTo>
                      <a:pt x="9" y="15"/>
                      <a:pt x="9" y="15"/>
                      <a:pt x="9" y="15"/>
                    </a:cubicBezTo>
                    <a:cubicBezTo>
                      <a:pt x="10" y="15"/>
                      <a:pt x="10" y="15"/>
                      <a:pt x="10" y="15"/>
                    </a:cubicBezTo>
                    <a:cubicBezTo>
                      <a:pt x="13" y="11"/>
                      <a:pt x="17" y="7"/>
                      <a:pt x="22" y="4"/>
                    </a:cubicBezTo>
                    <a:cubicBezTo>
                      <a:pt x="27" y="1"/>
                      <a:pt x="32" y="0"/>
                      <a:pt x="38" y="0"/>
                    </a:cubicBezTo>
                    <a:cubicBezTo>
                      <a:pt x="54" y="0"/>
                      <a:pt x="64" y="6"/>
                      <a:pt x="68" y="18"/>
                    </a:cubicBezTo>
                    <a:cubicBezTo>
                      <a:pt x="69" y="18"/>
                      <a:pt x="69" y="18"/>
                      <a:pt x="69" y="18"/>
                    </a:cubicBezTo>
                    <a:cubicBezTo>
                      <a:pt x="72" y="12"/>
                      <a:pt x="76" y="8"/>
                      <a:pt x="81" y="5"/>
                    </a:cubicBezTo>
                    <a:cubicBezTo>
                      <a:pt x="87" y="2"/>
                      <a:pt x="93" y="0"/>
                      <a:pt x="100" y="0"/>
                    </a:cubicBezTo>
                    <a:cubicBezTo>
                      <a:pt x="111" y="0"/>
                      <a:pt x="119" y="3"/>
                      <a:pt x="124" y="9"/>
                    </a:cubicBezTo>
                    <a:cubicBezTo>
                      <a:pt x="130" y="14"/>
                      <a:pt x="132" y="24"/>
                      <a:pt x="132" y="36"/>
                    </a:cubicBezTo>
                    <a:cubicBezTo>
                      <a:pt x="132" y="101"/>
                      <a:pt x="132" y="101"/>
                      <a:pt x="132" y="101"/>
                    </a:cubicBezTo>
                    <a:lnTo>
                      <a:pt x="123" y="101"/>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843"/>
              <p:cNvSpPr>
                <a:spLocks noEditPoints="1"/>
              </p:cNvSpPr>
              <p:nvPr/>
            </p:nvSpPr>
            <p:spPr bwMode="auto">
              <a:xfrm>
                <a:off x="4926991" y="4473396"/>
                <a:ext cx="115017" cy="200823"/>
              </a:xfrm>
              <a:custGeom>
                <a:avLst/>
                <a:gdLst>
                  <a:gd name="T0" fmla="*/ 42 w 83"/>
                  <a:gd name="T1" fmla="*/ 102 h 145"/>
                  <a:gd name="T2" fmla="*/ 9 w 83"/>
                  <a:gd name="T3" fmla="*/ 85 h 145"/>
                  <a:gd name="T4" fmla="*/ 8 w 83"/>
                  <a:gd name="T5" fmla="*/ 85 h 145"/>
                  <a:gd name="T6" fmla="*/ 8 w 83"/>
                  <a:gd name="T7" fmla="*/ 93 h 145"/>
                  <a:gd name="T8" fmla="*/ 9 w 83"/>
                  <a:gd name="T9" fmla="*/ 108 h 145"/>
                  <a:gd name="T10" fmla="*/ 9 w 83"/>
                  <a:gd name="T11" fmla="*/ 145 h 145"/>
                  <a:gd name="T12" fmla="*/ 0 w 83"/>
                  <a:gd name="T13" fmla="*/ 145 h 145"/>
                  <a:gd name="T14" fmla="*/ 0 w 83"/>
                  <a:gd name="T15" fmla="*/ 2 h 145"/>
                  <a:gd name="T16" fmla="*/ 7 w 83"/>
                  <a:gd name="T17" fmla="*/ 2 h 145"/>
                  <a:gd name="T18" fmla="*/ 9 w 83"/>
                  <a:gd name="T19" fmla="*/ 16 h 145"/>
                  <a:gd name="T20" fmla="*/ 9 w 83"/>
                  <a:gd name="T21" fmla="*/ 16 h 145"/>
                  <a:gd name="T22" fmla="*/ 42 w 83"/>
                  <a:gd name="T23" fmla="*/ 0 h 145"/>
                  <a:gd name="T24" fmla="*/ 72 w 83"/>
                  <a:gd name="T25" fmla="*/ 13 h 145"/>
                  <a:gd name="T26" fmla="*/ 83 w 83"/>
                  <a:gd name="T27" fmla="*/ 51 h 145"/>
                  <a:gd name="T28" fmla="*/ 72 w 83"/>
                  <a:gd name="T29" fmla="*/ 89 h 145"/>
                  <a:gd name="T30" fmla="*/ 42 w 83"/>
                  <a:gd name="T31" fmla="*/ 102 h 145"/>
                  <a:gd name="T32" fmla="*/ 42 w 83"/>
                  <a:gd name="T33" fmla="*/ 94 h 145"/>
                  <a:gd name="T34" fmla="*/ 65 w 83"/>
                  <a:gd name="T35" fmla="*/ 83 h 145"/>
                  <a:gd name="T36" fmla="*/ 73 w 83"/>
                  <a:gd name="T37" fmla="*/ 52 h 145"/>
                  <a:gd name="T38" fmla="*/ 42 w 83"/>
                  <a:gd name="T39" fmla="*/ 8 h 145"/>
                  <a:gd name="T40" fmla="*/ 17 w 83"/>
                  <a:gd name="T41" fmla="*/ 18 h 145"/>
                  <a:gd name="T42" fmla="*/ 9 w 83"/>
                  <a:gd name="T43" fmla="*/ 49 h 145"/>
                  <a:gd name="T44" fmla="*/ 9 w 83"/>
                  <a:gd name="T45" fmla="*/ 51 h 145"/>
                  <a:gd name="T46" fmla="*/ 16 w 83"/>
                  <a:gd name="T47" fmla="*/ 85 h 145"/>
                  <a:gd name="T48" fmla="*/ 42 w 83"/>
                  <a:gd name="T49"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45">
                    <a:moveTo>
                      <a:pt x="42" y="102"/>
                    </a:moveTo>
                    <a:cubicBezTo>
                      <a:pt x="27" y="102"/>
                      <a:pt x="16" y="97"/>
                      <a:pt x="9" y="85"/>
                    </a:cubicBezTo>
                    <a:cubicBezTo>
                      <a:pt x="8" y="85"/>
                      <a:pt x="8" y="85"/>
                      <a:pt x="8" y="85"/>
                    </a:cubicBezTo>
                    <a:cubicBezTo>
                      <a:pt x="8" y="93"/>
                      <a:pt x="8" y="93"/>
                      <a:pt x="8" y="93"/>
                    </a:cubicBezTo>
                    <a:cubicBezTo>
                      <a:pt x="8" y="97"/>
                      <a:pt x="9" y="102"/>
                      <a:pt x="9" y="108"/>
                    </a:cubicBezTo>
                    <a:cubicBezTo>
                      <a:pt x="9" y="145"/>
                      <a:pt x="9" y="145"/>
                      <a:pt x="9" y="145"/>
                    </a:cubicBezTo>
                    <a:cubicBezTo>
                      <a:pt x="0" y="145"/>
                      <a:pt x="0" y="145"/>
                      <a:pt x="0" y="145"/>
                    </a:cubicBezTo>
                    <a:cubicBezTo>
                      <a:pt x="0" y="2"/>
                      <a:pt x="0" y="2"/>
                      <a:pt x="0" y="2"/>
                    </a:cubicBezTo>
                    <a:cubicBezTo>
                      <a:pt x="7" y="2"/>
                      <a:pt x="7" y="2"/>
                      <a:pt x="7" y="2"/>
                    </a:cubicBezTo>
                    <a:cubicBezTo>
                      <a:pt x="9" y="16"/>
                      <a:pt x="9" y="16"/>
                      <a:pt x="9" y="16"/>
                    </a:cubicBezTo>
                    <a:cubicBezTo>
                      <a:pt x="9" y="16"/>
                      <a:pt x="9" y="16"/>
                      <a:pt x="9" y="16"/>
                    </a:cubicBezTo>
                    <a:cubicBezTo>
                      <a:pt x="16" y="5"/>
                      <a:pt x="27" y="0"/>
                      <a:pt x="42" y="0"/>
                    </a:cubicBezTo>
                    <a:cubicBezTo>
                      <a:pt x="55" y="0"/>
                      <a:pt x="65" y="4"/>
                      <a:pt x="72" y="13"/>
                    </a:cubicBezTo>
                    <a:cubicBezTo>
                      <a:pt x="79" y="22"/>
                      <a:pt x="83" y="35"/>
                      <a:pt x="83" y="51"/>
                    </a:cubicBezTo>
                    <a:cubicBezTo>
                      <a:pt x="83" y="68"/>
                      <a:pt x="79" y="80"/>
                      <a:pt x="72" y="89"/>
                    </a:cubicBezTo>
                    <a:cubicBezTo>
                      <a:pt x="65" y="98"/>
                      <a:pt x="55" y="102"/>
                      <a:pt x="42" y="102"/>
                    </a:cubicBezTo>
                    <a:close/>
                    <a:moveTo>
                      <a:pt x="42" y="94"/>
                    </a:moveTo>
                    <a:cubicBezTo>
                      <a:pt x="52" y="94"/>
                      <a:pt x="60" y="91"/>
                      <a:pt x="65" y="83"/>
                    </a:cubicBezTo>
                    <a:cubicBezTo>
                      <a:pt x="71" y="76"/>
                      <a:pt x="73" y="65"/>
                      <a:pt x="73" y="52"/>
                    </a:cubicBezTo>
                    <a:cubicBezTo>
                      <a:pt x="73" y="23"/>
                      <a:pt x="63" y="8"/>
                      <a:pt x="42" y="8"/>
                    </a:cubicBezTo>
                    <a:cubicBezTo>
                      <a:pt x="30" y="8"/>
                      <a:pt x="22" y="11"/>
                      <a:pt x="17" y="18"/>
                    </a:cubicBezTo>
                    <a:cubicBezTo>
                      <a:pt x="11" y="24"/>
                      <a:pt x="9" y="34"/>
                      <a:pt x="9" y="49"/>
                    </a:cubicBezTo>
                    <a:cubicBezTo>
                      <a:pt x="9" y="51"/>
                      <a:pt x="9" y="51"/>
                      <a:pt x="9" y="51"/>
                    </a:cubicBezTo>
                    <a:cubicBezTo>
                      <a:pt x="9" y="67"/>
                      <a:pt x="11" y="78"/>
                      <a:pt x="16" y="85"/>
                    </a:cubicBezTo>
                    <a:cubicBezTo>
                      <a:pt x="22" y="91"/>
                      <a:pt x="30" y="94"/>
                      <a:pt x="42"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44"/>
              <p:cNvSpPr>
                <a:spLocks noEditPoints="1"/>
              </p:cNvSpPr>
              <p:nvPr/>
            </p:nvSpPr>
            <p:spPr bwMode="auto">
              <a:xfrm>
                <a:off x="5063002" y="4473396"/>
                <a:ext cx="102237" cy="141489"/>
              </a:xfrm>
              <a:custGeom>
                <a:avLst/>
                <a:gdLst>
                  <a:gd name="T0" fmla="*/ 68 w 74"/>
                  <a:gd name="T1" fmla="*/ 101 h 102"/>
                  <a:gd name="T2" fmla="*/ 65 w 74"/>
                  <a:gd name="T3" fmla="*/ 85 h 102"/>
                  <a:gd name="T4" fmla="*/ 65 w 74"/>
                  <a:gd name="T5" fmla="*/ 85 h 102"/>
                  <a:gd name="T6" fmla="*/ 49 w 74"/>
                  <a:gd name="T7" fmla="*/ 98 h 102"/>
                  <a:gd name="T8" fmla="*/ 31 w 74"/>
                  <a:gd name="T9" fmla="*/ 102 h 102"/>
                  <a:gd name="T10" fmla="*/ 8 w 74"/>
                  <a:gd name="T11" fmla="*/ 95 h 102"/>
                  <a:gd name="T12" fmla="*/ 0 w 74"/>
                  <a:gd name="T13" fmla="*/ 74 h 102"/>
                  <a:gd name="T14" fmla="*/ 12 w 74"/>
                  <a:gd name="T15" fmla="*/ 52 h 102"/>
                  <a:gd name="T16" fmla="*/ 47 w 74"/>
                  <a:gd name="T17" fmla="*/ 43 h 102"/>
                  <a:gd name="T18" fmla="*/ 66 w 74"/>
                  <a:gd name="T19" fmla="*/ 43 h 102"/>
                  <a:gd name="T20" fmla="*/ 66 w 74"/>
                  <a:gd name="T21" fmla="*/ 36 h 102"/>
                  <a:gd name="T22" fmla="*/ 60 w 74"/>
                  <a:gd name="T23" fmla="*/ 15 h 102"/>
                  <a:gd name="T24" fmla="*/ 41 w 74"/>
                  <a:gd name="T25" fmla="*/ 8 h 102"/>
                  <a:gd name="T26" fmla="*/ 13 w 74"/>
                  <a:gd name="T27" fmla="*/ 16 h 102"/>
                  <a:gd name="T28" fmla="*/ 10 w 74"/>
                  <a:gd name="T29" fmla="*/ 8 h 102"/>
                  <a:gd name="T30" fmla="*/ 42 w 74"/>
                  <a:gd name="T31" fmla="*/ 0 h 102"/>
                  <a:gd name="T32" fmla="*/ 66 w 74"/>
                  <a:gd name="T33" fmla="*/ 9 h 102"/>
                  <a:gd name="T34" fmla="*/ 74 w 74"/>
                  <a:gd name="T35" fmla="*/ 35 h 102"/>
                  <a:gd name="T36" fmla="*/ 74 w 74"/>
                  <a:gd name="T37" fmla="*/ 101 h 102"/>
                  <a:gd name="T38" fmla="*/ 68 w 74"/>
                  <a:gd name="T39" fmla="*/ 101 h 102"/>
                  <a:gd name="T40" fmla="*/ 31 w 74"/>
                  <a:gd name="T41" fmla="*/ 94 h 102"/>
                  <a:gd name="T42" fmla="*/ 56 w 74"/>
                  <a:gd name="T43" fmla="*/ 85 h 102"/>
                  <a:gd name="T44" fmla="*/ 65 w 74"/>
                  <a:gd name="T45" fmla="*/ 60 h 102"/>
                  <a:gd name="T46" fmla="*/ 65 w 74"/>
                  <a:gd name="T47" fmla="*/ 50 h 102"/>
                  <a:gd name="T48" fmla="*/ 48 w 74"/>
                  <a:gd name="T49" fmla="*/ 51 h 102"/>
                  <a:gd name="T50" fmla="*/ 18 w 74"/>
                  <a:gd name="T51" fmla="*/ 58 h 102"/>
                  <a:gd name="T52" fmla="*/ 9 w 74"/>
                  <a:gd name="T53" fmla="*/ 75 h 102"/>
                  <a:gd name="T54" fmla="*/ 15 w 74"/>
                  <a:gd name="T55" fmla="*/ 89 h 102"/>
                  <a:gd name="T56" fmla="*/ 31 w 74"/>
                  <a:gd name="T5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102">
                    <a:moveTo>
                      <a:pt x="68" y="101"/>
                    </a:moveTo>
                    <a:cubicBezTo>
                      <a:pt x="65" y="85"/>
                      <a:pt x="65" y="85"/>
                      <a:pt x="65" y="85"/>
                    </a:cubicBezTo>
                    <a:cubicBezTo>
                      <a:pt x="65" y="85"/>
                      <a:pt x="65" y="85"/>
                      <a:pt x="65" y="85"/>
                    </a:cubicBezTo>
                    <a:cubicBezTo>
                      <a:pt x="60" y="91"/>
                      <a:pt x="54" y="96"/>
                      <a:pt x="49" y="98"/>
                    </a:cubicBezTo>
                    <a:cubicBezTo>
                      <a:pt x="44" y="101"/>
                      <a:pt x="38" y="102"/>
                      <a:pt x="31" y="102"/>
                    </a:cubicBezTo>
                    <a:cubicBezTo>
                      <a:pt x="21" y="102"/>
                      <a:pt x="13" y="100"/>
                      <a:pt x="8" y="95"/>
                    </a:cubicBezTo>
                    <a:cubicBezTo>
                      <a:pt x="3" y="90"/>
                      <a:pt x="0" y="83"/>
                      <a:pt x="0" y="74"/>
                    </a:cubicBezTo>
                    <a:cubicBezTo>
                      <a:pt x="0" y="65"/>
                      <a:pt x="4" y="57"/>
                      <a:pt x="12" y="52"/>
                    </a:cubicBezTo>
                    <a:cubicBezTo>
                      <a:pt x="20" y="47"/>
                      <a:pt x="32" y="44"/>
                      <a:pt x="47" y="43"/>
                    </a:cubicBezTo>
                    <a:cubicBezTo>
                      <a:pt x="66" y="43"/>
                      <a:pt x="66" y="43"/>
                      <a:pt x="66" y="43"/>
                    </a:cubicBezTo>
                    <a:cubicBezTo>
                      <a:pt x="66" y="36"/>
                      <a:pt x="66" y="36"/>
                      <a:pt x="66" y="36"/>
                    </a:cubicBezTo>
                    <a:cubicBezTo>
                      <a:pt x="66" y="27"/>
                      <a:pt x="64" y="20"/>
                      <a:pt x="60" y="15"/>
                    </a:cubicBezTo>
                    <a:cubicBezTo>
                      <a:pt x="56" y="10"/>
                      <a:pt x="50" y="8"/>
                      <a:pt x="41" y="8"/>
                    </a:cubicBezTo>
                    <a:cubicBezTo>
                      <a:pt x="32" y="8"/>
                      <a:pt x="23" y="11"/>
                      <a:pt x="13" y="16"/>
                    </a:cubicBezTo>
                    <a:cubicBezTo>
                      <a:pt x="10" y="8"/>
                      <a:pt x="10" y="8"/>
                      <a:pt x="10" y="8"/>
                    </a:cubicBezTo>
                    <a:cubicBezTo>
                      <a:pt x="21" y="3"/>
                      <a:pt x="31" y="0"/>
                      <a:pt x="42" y="0"/>
                    </a:cubicBezTo>
                    <a:cubicBezTo>
                      <a:pt x="53" y="0"/>
                      <a:pt x="61" y="3"/>
                      <a:pt x="66" y="9"/>
                    </a:cubicBezTo>
                    <a:cubicBezTo>
                      <a:pt x="71" y="14"/>
                      <a:pt x="74" y="23"/>
                      <a:pt x="74" y="35"/>
                    </a:cubicBezTo>
                    <a:cubicBezTo>
                      <a:pt x="74" y="101"/>
                      <a:pt x="74" y="101"/>
                      <a:pt x="74" y="101"/>
                    </a:cubicBezTo>
                    <a:lnTo>
                      <a:pt x="68" y="101"/>
                    </a:lnTo>
                    <a:close/>
                    <a:moveTo>
                      <a:pt x="31" y="94"/>
                    </a:moveTo>
                    <a:cubicBezTo>
                      <a:pt x="42" y="94"/>
                      <a:pt x="50" y="91"/>
                      <a:pt x="56" y="85"/>
                    </a:cubicBezTo>
                    <a:cubicBezTo>
                      <a:pt x="62" y="79"/>
                      <a:pt x="65" y="71"/>
                      <a:pt x="65" y="60"/>
                    </a:cubicBezTo>
                    <a:cubicBezTo>
                      <a:pt x="65" y="50"/>
                      <a:pt x="65" y="50"/>
                      <a:pt x="65" y="50"/>
                    </a:cubicBezTo>
                    <a:cubicBezTo>
                      <a:pt x="48" y="51"/>
                      <a:pt x="48" y="51"/>
                      <a:pt x="48" y="51"/>
                    </a:cubicBezTo>
                    <a:cubicBezTo>
                      <a:pt x="34" y="52"/>
                      <a:pt x="24" y="54"/>
                      <a:pt x="18" y="58"/>
                    </a:cubicBezTo>
                    <a:cubicBezTo>
                      <a:pt x="12" y="61"/>
                      <a:pt x="9" y="67"/>
                      <a:pt x="9" y="75"/>
                    </a:cubicBezTo>
                    <a:cubicBezTo>
                      <a:pt x="9" y="81"/>
                      <a:pt x="11" y="86"/>
                      <a:pt x="15" y="89"/>
                    </a:cubicBezTo>
                    <a:cubicBezTo>
                      <a:pt x="19" y="93"/>
                      <a:pt x="24" y="94"/>
                      <a:pt x="31"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45"/>
              <p:cNvSpPr>
                <a:spLocks/>
              </p:cNvSpPr>
              <p:nvPr/>
            </p:nvSpPr>
            <p:spPr bwMode="auto">
              <a:xfrm>
                <a:off x="5196276" y="4473396"/>
                <a:ext cx="97673" cy="141489"/>
              </a:xfrm>
              <a:custGeom>
                <a:avLst/>
                <a:gdLst>
                  <a:gd name="T0" fmla="*/ 45 w 71"/>
                  <a:gd name="T1" fmla="*/ 102 h 102"/>
                  <a:gd name="T2" fmla="*/ 12 w 71"/>
                  <a:gd name="T3" fmla="*/ 89 h 102"/>
                  <a:gd name="T4" fmla="*/ 0 w 71"/>
                  <a:gd name="T5" fmla="*/ 52 h 102"/>
                  <a:gd name="T6" fmla="*/ 12 w 71"/>
                  <a:gd name="T7" fmla="*/ 14 h 102"/>
                  <a:gd name="T8" fmla="*/ 46 w 71"/>
                  <a:gd name="T9" fmla="*/ 0 h 102"/>
                  <a:gd name="T10" fmla="*/ 71 w 71"/>
                  <a:gd name="T11" fmla="*/ 4 h 102"/>
                  <a:gd name="T12" fmla="*/ 68 w 71"/>
                  <a:gd name="T13" fmla="*/ 12 h 102"/>
                  <a:gd name="T14" fmla="*/ 46 w 71"/>
                  <a:gd name="T15" fmla="*/ 8 h 102"/>
                  <a:gd name="T16" fmla="*/ 19 w 71"/>
                  <a:gd name="T17" fmla="*/ 19 h 102"/>
                  <a:gd name="T18" fmla="*/ 9 w 71"/>
                  <a:gd name="T19" fmla="*/ 52 h 102"/>
                  <a:gd name="T20" fmla="*/ 19 w 71"/>
                  <a:gd name="T21" fmla="*/ 83 h 102"/>
                  <a:gd name="T22" fmla="*/ 45 w 71"/>
                  <a:gd name="T23" fmla="*/ 94 h 102"/>
                  <a:gd name="T24" fmla="*/ 70 w 71"/>
                  <a:gd name="T25" fmla="*/ 89 h 102"/>
                  <a:gd name="T26" fmla="*/ 70 w 71"/>
                  <a:gd name="T27" fmla="*/ 98 h 102"/>
                  <a:gd name="T28" fmla="*/ 45 w 71"/>
                  <a:gd name="T2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02">
                    <a:moveTo>
                      <a:pt x="45" y="102"/>
                    </a:moveTo>
                    <a:cubicBezTo>
                      <a:pt x="31" y="102"/>
                      <a:pt x="20" y="98"/>
                      <a:pt x="12" y="89"/>
                    </a:cubicBezTo>
                    <a:cubicBezTo>
                      <a:pt x="4" y="80"/>
                      <a:pt x="0" y="68"/>
                      <a:pt x="0" y="52"/>
                    </a:cubicBezTo>
                    <a:cubicBezTo>
                      <a:pt x="0" y="36"/>
                      <a:pt x="4" y="23"/>
                      <a:pt x="12" y="14"/>
                    </a:cubicBezTo>
                    <a:cubicBezTo>
                      <a:pt x="20" y="5"/>
                      <a:pt x="32" y="0"/>
                      <a:pt x="46" y="0"/>
                    </a:cubicBezTo>
                    <a:cubicBezTo>
                      <a:pt x="55" y="0"/>
                      <a:pt x="63" y="1"/>
                      <a:pt x="71" y="4"/>
                    </a:cubicBezTo>
                    <a:cubicBezTo>
                      <a:pt x="68" y="12"/>
                      <a:pt x="68" y="12"/>
                      <a:pt x="68" y="12"/>
                    </a:cubicBezTo>
                    <a:cubicBezTo>
                      <a:pt x="60" y="10"/>
                      <a:pt x="52" y="8"/>
                      <a:pt x="46" y="8"/>
                    </a:cubicBezTo>
                    <a:cubicBezTo>
                      <a:pt x="34" y="8"/>
                      <a:pt x="25" y="12"/>
                      <a:pt x="19" y="19"/>
                    </a:cubicBezTo>
                    <a:cubicBezTo>
                      <a:pt x="12" y="27"/>
                      <a:pt x="9" y="38"/>
                      <a:pt x="9" y="52"/>
                    </a:cubicBezTo>
                    <a:cubicBezTo>
                      <a:pt x="9" y="65"/>
                      <a:pt x="12" y="75"/>
                      <a:pt x="19" y="83"/>
                    </a:cubicBezTo>
                    <a:cubicBezTo>
                      <a:pt x="25" y="90"/>
                      <a:pt x="33" y="94"/>
                      <a:pt x="45" y="94"/>
                    </a:cubicBezTo>
                    <a:cubicBezTo>
                      <a:pt x="54" y="94"/>
                      <a:pt x="62" y="93"/>
                      <a:pt x="70" y="89"/>
                    </a:cubicBezTo>
                    <a:cubicBezTo>
                      <a:pt x="70" y="98"/>
                      <a:pt x="70" y="98"/>
                      <a:pt x="70" y="98"/>
                    </a:cubicBezTo>
                    <a:cubicBezTo>
                      <a:pt x="63" y="101"/>
                      <a:pt x="55" y="102"/>
                      <a:pt x="45" y="102"/>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46"/>
              <p:cNvSpPr>
                <a:spLocks/>
              </p:cNvSpPr>
              <p:nvPr/>
            </p:nvSpPr>
            <p:spPr bwMode="auto">
              <a:xfrm>
                <a:off x="5299425" y="4443273"/>
                <a:ext cx="76678" cy="171612"/>
              </a:xfrm>
              <a:custGeom>
                <a:avLst/>
                <a:gdLst>
                  <a:gd name="T0" fmla="*/ 40 w 55"/>
                  <a:gd name="T1" fmla="*/ 116 h 124"/>
                  <a:gd name="T2" fmla="*/ 55 w 55"/>
                  <a:gd name="T3" fmla="*/ 115 h 124"/>
                  <a:gd name="T4" fmla="*/ 55 w 55"/>
                  <a:gd name="T5" fmla="*/ 122 h 124"/>
                  <a:gd name="T6" fmla="*/ 40 w 55"/>
                  <a:gd name="T7" fmla="*/ 124 h 124"/>
                  <a:gd name="T8" fmla="*/ 21 w 55"/>
                  <a:gd name="T9" fmla="*/ 117 h 124"/>
                  <a:gd name="T10" fmla="*/ 14 w 55"/>
                  <a:gd name="T11" fmla="*/ 95 h 124"/>
                  <a:gd name="T12" fmla="*/ 14 w 55"/>
                  <a:gd name="T13" fmla="*/ 32 h 124"/>
                  <a:gd name="T14" fmla="*/ 0 w 55"/>
                  <a:gd name="T15" fmla="*/ 32 h 124"/>
                  <a:gd name="T16" fmla="*/ 0 w 55"/>
                  <a:gd name="T17" fmla="*/ 26 h 124"/>
                  <a:gd name="T18" fmla="*/ 14 w 55"/>
                  <a:gd name="T19" fmla="*/ 22 h 124"/>
                  <a:gd name="T20" fmla="*/ 19 w 55"/>
                  <a:gd name="T21" fmla="*/ 0 h 124"/>
                  <a:gd name="T22" fmla="*/ 24 w 55"/>
                  <a:gd name="T23" fmla="*/ 0 h 124"/>
                  <a:gd name="T24" fmla="*/ 24 w 55"/>
                  <a:gd name="T25" fmla="*/ 24 h 124"/>
                  <a:gd name="T26" fmla="*/ 53 w 55"/>
                  <a:gd name="T27" fmla="*/ 24 h 124"/>
                  <a:gd name="T28" fmla="*/ 53 w 55"/>
                  <a:gd name="T29" fmla="*/ 32 h 124"/>
                  <a:gd name="T30" fmla="*/ 24 w 55"/>
                  <a:gd name="T31" fmla="*/ 32 h 124"/>
                  <a:gd name="T32" fmla="*/ 24 w 55"/>
                  <a:gd name="T33" fmla="*/ 94 h 124"/>
                  <a:gd name="T34" fmla="*/ 28 w 55"/>
                  <a:gd name="T35" fmla="*/ 111 h 124"/>
                  <a:gd name="T36" fmla="*/ 40 w 55"/>
                  <a:gd name="T3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24">
                    <a:moveTo>
                      <a:pt x="40" y="116"/>
                    </a:moveTo>
                    <a:cubicBezTo>
                      <a:pt x="46" y="116"/>
                      <a:pt x="51" y="116"/>
                      <a:pt x="55" y="115"/>
                    </a:cubicBezTo>
                    <a:cubicBezTo>
                      <a:pt x="55" y="122"/>
                      <a:pt x="55" y="122"/>
                      <a:pt x="55" y="122"/>
                    </a:cubicBezTo>
                    <a:cubicBezTo>
                      <a:pt x="51" y="124"/>
                      <a:pt x="46" y="124"/>
                      <a:pt x="40" y="124"/>
                    </a:cubicBezTo>
                    <a:cubicBezTo>
                      <a:pt x="31" y="124"/>
                      <a:pt x="25" y="122"/>
                      <a:pt x="21" y="117"/>
                    </a:cubicBezTo>
                    <a:cubicBezTo>
                      <a:pt x="17" y="113"/>
                      <a:pt x="14" y="105"/>
                      <a:pt x="14" y="95"/>
                    </a:cubicBezTo>
                    <a:cubicBezTo>
                      <a:pt x="14" y="32"/>
                      <a:pt x="14" y="32"/>
                      <a:pt x="14" y="32"/>
                    </a:cubicBezTo>
                    <a:cubicBezTo>
                      <a:pt x="0" y="32"/>
                      <a:pt x="0" y="32"/>
                      <a:pt x="0" y="32"/>
                    </a:cubicBezTo>
                    <a:cubicBezTo>
                      <a:pt x="0" y="26"/>
                      <a:pt x="0" y="26"/>
                      <a:pt x="0" y="26"/>
                    </a:cubicBezTo>
                    <a:cubicBezTo>
                      <a:pt x="14" y="22"/>
                      <a:pt x="14" y="22"/>
                      <a:pt x="14" y="22"/>
                    </a:cubicBezTo>
                    <a:cubicBezTo>
                      <a:pt x="19" y="0"/>
                      <a:pt x="19" y="0"/>
                      <a:pt x="19" y="0"/>
                    </a:cubicBezTo>
                    <a:cubicBezTo>
                      <a:pt x="24" y="0"/>
                      <a:pt x="24" y="0"/>
                      <a:pt x="24" y="0"/>
                    </a:cubicBezTo>
                    <a:cubicBezTo>
                      <a:pt x="24" y="24"/>
                      <a:pt x="24" y="24"/>
                      <a:pt x="24" y="24"/>
                    </a:cubicBezTo>
                    <a:cubicBezTo>
                      <a:pt x="53" y="24"/>
                      <a:pt x="53" y="24"/>
                      <a:pt x="53" y="24"/>
                    </a:cubicBezTo>
                    <a:cubicBezTo>
                      <a:pt x="53" y="32"/>
                      <a:pt x="53" y="32"/>
                      <a:pt x="53" y="32"/>
                    </a:cubicBezTo>
                    <a:cubicBezTo>
                      <a:pt x="24" y="32"/>
                      <a:pt x="24" y="32"/>
                      <a:pt x="24" y="32"/>
                    </a:cubicBezTo>
                    <a:cubicBezTo>
                      <a:pt x="24" y="94"/>
                      <a:pt x="24" y="94"/>
                      <a:pt x="24" y="94"/>
                    </a:cubicBezTo>
                    <a:cubicBezTo>
                      <a:pt x="24" y="102"/>
                      <a:pt x="25" y="107"/>
                      <a:pt x="28" y="111"/>
                    </a:cubicBezTo>
                    <a:cubicBezTo>
                      <a:pt x="30" y="115"/>
                      <a:pt x="34" y="116"/>
                      <a:pt x="40" y="116"/>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847"/>
              <p:cNvSpPr>
                <a:spLocks noChangeArrowheads="1"/>
              </p:cNvSpPr>
              <p:nvPr/>
            </p:nvSpPr>
            <p:spPr bwMode="auto">
              <a:xfrm>
                <a:off x="5396185" y="4591151"/>
                <a:ext cx="20995" cy="2373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 name="Group 74"/>
            <p:cNvGrpSpPr/>
            <p:nvPr/>
          </p:nvGrpSpPr>
          <p:grpSpPr>
            <a:xfrm>
              <a:off x="316288" y="2835779"/>
              <a:ext cx="2473768" cy="2132371"/>
              <a:chOff x="316288" y="2835779"/>
              <a:chExt cx="2473768" cy="2132371"/>
            </a:xfrm>
          </p:grpSpPr>
          <p:sp>
            <p:nvSpPr>
              <p:cNvPr id="76" name="Oval 797"/>
              <p:cNvSpPr>
                <a:spLocks noChangeArrowheads="1"/>
              </p:cNvSpPr>
              <p:nvPr/>
            </p:nvSpPr>
            <p:spPr bwMode="auto">
              <a:xfrm>
                <a:off x="408484" y="2835779"/>
                <a:ext cx="2107724" cy="21095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98"/>
              <p:cNvSpPr>
                <a:spLocks noEditPoints="1"/>
              </p:cNvSpPr>
              <p:nvPr/>
            </p:nvSpPr>
            <p:spPr bwMode="auto">
              <a:xfrm>
                <a:off x="754446" y="3408123"/>
                <a:ext cx="1415799" cy="886358"/>
              </a:xfrm>
              <a:custGeom>
                <a:avLst/>
                <a:gdLst>
                  <a:gd name="T0" fmla="*/ 1016 w 1551"/>
                  <a:gd name="T1" fmla="*/ 0 h 971"/>
                  <a:gd name="T2" fmla="*/ 434 w 1551"/>
                  <a:gd name="T3" fmla="*/ 47 h 971"/>
                  <a:gd name="T4" fmla="*/ 0 w 1551"/>
                  <a:gd name="T5" fmla="*/ 193 h 971"/>
                  <a:gd name="T6" fmla="*/ 0 w 1551"/>
                  <a:gd name="T7" fmla="*/ 778 h 971"/>
                  <a:gd name="T8" fmla="*/ 434 w 1551"/>
                  <a:gd name="T9" fmla="*/ 924 h 971"/>
                  <a:gd name="T10" fmla="*/ 1016 w 1551"/>
                  <a:gd name="T11" fmla="*/ 971 h 971"/>
                  <a:gd name="T12" fmla="*/ 1506 w 1551"/>
                  <a:gd name="T13" fmla="*/ 920 h 971"/>
                  <a:gd name="T14" fmla="*/ 1506 w 1551"/>
                  <a:gd name="T15" fmla="*/ 294 h 971"/>
                  <a:gd name="T16" fmla="*/ 584 w 1551"/>
                  <a:gd name="T17" fmla="*/ 531 h 971"/>
                  <a:gd name="T18" fmla="*/ 1069 w 1551"/>
                  <a:gd name="T19" fmla="*/ 531 h 971"/>
                  <a:gd name="T20" fmla="*/ 676 w 1551"/>
                  <a:gd name="T21" fmla="*/ 391 h 971"/>
                  <a:gd name="T22" fmla="*/ 487 w 1551"/>
                  <a:gd name="T23" fmla="*/ 580 h 971"/>
                  <a:gd name="T24" fmla="*/ 972 w 1551"/>
                  <a:gd name="T25" fmla="*/ 580 h 971"/>
                  <a:gd name="T26" fmla="*/ 1016 w 1551"/>
                  <a:gd name="T27" fmla="*/ 343 h 971"/>
                  <a:gd name="T28" fmla="*/ 531 w 1551"/>
                  <a:gd name="T29" fmla="*/ 343 h 971"/>
                  <a:gd name="T30" fmla="*/ 438 w 1551"/>
                  <a:gd name="T31" fmla="*/ 628 h 971"/>
                  <a:gd name="T32" fmla="*/ 924 w 1551"/>
                  <a:gd name="T33" fmla="*/ 628 h 971"/>
                  <a:gd name="T34" fmla="*/ 1210 w 1551"/>
                  <a:gd name="T35" fmla="*/ 387 h 971"/>
                  <a:gd name="T36" fmla="*/ 822 w 1551"/>
                  <a:gd name="T37" fmla="*/ 294 h 971"/>
                  <a:gd name="T38" fmla="*/ 337 w 1551"/>
                  <a:gd name="T39" fmla="*/ 294 h 971"/>
                  <a:gd name="T40" fmla="*/ 438 w 1551"/>
                  <a:gd name="T41" fmla="*/ 677 h 971"/>
                  <a:gd name="T42" fmla="*/ 924 w 1551"/>
                  <a:gd name="T43" fmla="*/ 677 h 971"/>
                  <a:gd name="T44" fmla="*/ 1259 w 1551"/>
                  <a:gd name="T45" fmla="*/ 531 h 971"/>
                  <a:gd name="T46" fmla="*/ 1016 w 1551"/>
                  <a:gd name="T47" fmla="*/ 246 h 971"/>
                  <a:gd name="T48" fmla="*/ 531 w 1551"/>
                  <a:gd name="T49" fmla="*/ 246 h 971"/>
                  <a:gd name="T50" fmla="*/ 246 w 1551"/>
                  <a:gd name="T51" fmla="*/ 440 h 971"/>
                  <a:gd name="T52" fmla="*/ 487 w 1551"/>
                  <a:gd name="T53" fmla="*/ 725 h 971"/>
                  <a:gd name="T54" fmla="*/ 972 w 1551"/>
                  <a:gd name="T55" fmla="*/ 725 h 971"/>
                  <a:gd name="T56" fmla="*/ 1307 w 1551"/>
                  <a:gd name="T57" fmla="*/ 580 h 971"/>
                  <a:gd name="T58" fmla="*/ 1162 w 1551"/>
                  <a:gd name="T59" fmla="*/ 197 h 971"/>
                  <a:gd name="T60" fmla="*/ 676 w 1551"/>
                  <a:gd name="T61" fmla="*/ 197 h 971"/>
                  <a:gd name="T62" fmla="*/ 240 w 1551"/>
                  <a:gd name="T63" fmla="*/ 197 h 971"/>
                  <a:gd name="T64" fmla="*/ 197 w 1551"/>
                  <a:gd name="T65" fmla="*/ 683 h 971"/>
                  <a:gd name="T66" fmla="*/ 584 w 1551"/>
                  <a:gd name="T67" fmla="*/ 774 h 971"/>
                  <a:gd name="T68" fmla="*/ 1069 w 1551"/>
                  <a:gd name="T69" fmla="*/ 774 h 971"/>
                  <a:gd name="T70" fmla="*/ 1354 w 1551"/>
                  <a:gd name="T71" fmla="*/ 580 h 971"/>
                  <a:gd name="T72" fmla="*/ 1259 w 1551"/>
                  <a:gd name="T73" fmla="*/ 149 h 971"/>
                  <a:gd name="T74" fmla="*/ 822 w 1551"/>
                  <a:gd name="T75" fmla="*/ 149 h 971"/>
                  <a:gd name="T76" fmla="*/ 337 w 1551"/>
                  <a:gd name="T77" fmla="*/ 149 h 971"/>
                  <a:gd name="T78" fmla="*/ 149 w 1551"/>
                  <a:gd name="T79" fmla="*/ 440 h 971"/>
                  <a:gd name="T80" fmla="*/ 293 w 1551"/>
                  <a:gd name="T81" fmla="*/ 822 h 971"/>
                  <a:gd name="T82" fmla="*/ 729 w 1551"/>
                  <a:gd name="T83" fmla="*/ 822 h 971"/>
                  <a:gd name="T84" fmla="*/ 1215 w 1551"/>
                  <a:gd name="T85" fmla="*/ 822 h 971"/>
                  <a:gd name="T86" fmla="*/ 1403 w 1551"/>
                  <a:gd name="T87" fmla="*/ 531 h 971"/>
                  <a:gd name="T88" fmla="*/ 1307 w 1551"/>
                  <a:gd name="T89" fmla="*/ 100 h 971"/>
                  <a:gd name="T90" fmla="*/ 870 w 1551"/>
                  <a:gd name="T91" fmla="*/ 100 h 971"/>
                  <a:gd name="T92" fmla="*/ 385 w 1551"/>
                  <a:gd name="T93" fmla="*/ 100 h 971"/>
                  <a:gd name="T94" fmla="*/ 100 w 1551"/>
                  <a:gd name="T95" fmla="*/ 294 h 971"/>
                  <a:gd name="T96" fmla="*/ 100 w 1551"/>
                  <a:gd name="T97" fmla="*/ 778 h 971"/>
                  <a:gd name="T98" fmla="*/ 487 w 1551"/>
                  <a:gd name="T99" fmla="*/ 871 h 971"/>
                  <a:gd name="T100" fmla="*/ 972 w 1551"/>
                  <a:gd name="T101" fmla="*/ 871 h 971"/>
                  <a:gd name="T102" fmla="*/ 1409 w 1551"/>
                  <a:gd name="T103" fmla="*/ 871 h 971"/>
                  <a:gd name="T104" fmla="*/ 1451 w 1551"/>
                  <a:gd name="T105" fmla="*/ 387 h 971"/>
                  <a:gd name="T106" fmla="*/ 1215 w 1551"/>
                  <a:gd name="T107" fmla="*/ 51 h 971"/>
                  <a:gd name="T108" fmla="*/ 729 w 1551"/>
                  <a:gd name="T109" fmla="*/ 51 h 971"/>
                  <a:gd name="T110" fmla="*/ 293 w 1551"/>
                  <a:gd name="T111" fmla="*/ 51 h 971"/>
                  <a:gd name="T112" fmla="*/ 52 w 1551"/>
                  <a:gd name="T113" fmla="*/ 290 h 971"/>
                  <a:gd name="T114" fmla="*/ 52 w 1551"/>
                  <a:gd name="T115" fmla="*/ 774 h 971"/>
                  <a:gd name="T116" fmla="*/ 385 w 1551"/>
                  <a:gd name="T117" fmla="*/ 920 h 971"/>
                  <a:gd name="T118" fmla="*/ 870 w 1551"/>
                  <a:gd name="T119" fmla="*/ 920 h 971"/>
                  <a:gd name="T120" fmla="*/ 1307 w 1551"/>
                  <a:gd name="T121" fmla="*/ 920 h 971"/>
                  <a:gd name="T122" fmla="*/ 1500 w 1551"/>
                  <a:gd name="T123" fmla="*/ 634 h 971"/>
                  <a:gd name="T124" fmla="*/ 1500 w 1551"/>
                  <a:gd name="T125" fmla="*/ 14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1" h="971">
                    <a:moveTo>
                      <a:pt x="1551" y="51"/>
                    </a:moveTo>
                    <a:lnTo>
                      <a:pt x="1551" y="47"/>
                    </a:lnTo>
                    <a:lnTo>
                      <a:pt x="1506" y="47"/>
                    </a:lnTo>
                    <a:lnTo>
                      <a:pt x="1506" y="0"/>
                    </a:lnTo>
                    <a:lnTo>
                      <a:pt x="1500" y="0"/>
                    </a:lnTo>
                    <a:lnTo>
                      <a:pt x="1500" y="47"/>
                    </a:lnTo>
                    <a:lnTo>
                      <a:pt x="1457" y="47"/>
                    </a:lnTo>
                    <a:lnTo>
                      <a:pt x="1457" y="0"/>
                    </a:lnTo>
                    <a:lnTo>
                      <a:pt x="1451" y="0"/>
                    </a:lnTo>
                    <a:lnTo>
                      <a:pt x="1451" y="47"/>
                    </a:lnTo>
                    <a:lnTo>
                      <a:pt x="1409" y="47"/>
                    </a:lnTo>
                    <a:lnTo>
                      <a:pt x="1409" y="0"/>
                    </a:lnTo>
                    <a:lnTo>
                      <a:pt x="1403" y="0"/>
                    </a:lnTo>
                    <a:lnTo>
                      <a:pt x="1403" y="47"/>
                    </a:lnTo>
                    <a:lnTo>
                      <a:pt x="1360" y="47"/>
                    </a:lnTo>
                    <a:lnTo>
                      <a:pt x="1360" y="0"/>
                    </a:lnTo>
                    <a:lnTo>
                      <a:pt x="1354" y="0"/>
                    </a:lnTo>
                    <a:lnTo>
                      <a:pt x="1354" y="47"/>
                    </a:lnTo>
                    <a:lnTo>
                      <a:pt x="1312" y="47"/>
                    </a:lnTo>
                    <a:lnTo>
                      <a:pt x="1312" y="0"/>
                    </a:lnTo>
                    <a:lnTo>
                      <a:pt x="1307" y="0"/>
                    </a:lnTo>
                    <a:lnTo>
                      <a:pt x="1307" y="47"/>
                    </a:lnTo>
                    <a:lnTo>
                      <a:pt x="1263" y="47"/>
                    </a:lnTo>
                    <a:lnTo>
                      <a:pt x="1263" y="0"/>
                    </a:lnTo>
                    <a:lnTo>
                      <a:pt x="1259" y="0"/>
                    </a:lnTo>
                    <a:lnTo>
                      <a:pt x="1259" y="47"/>
                    </a:lnTo>
                    <a:lnTo>
                      <a:pt x="1215" y="47"/>
                    </a:lnTo>
                    <a:lnTo>
                      <a:pt x="1215" y="0"/>
                    </a:lnTo>
                    <a:lnTo>
                      <a:pt x="1210" y="0"/>
                    </a:lnTo>
                    <a:lnTo>
                      <a:pt x="1210" y="47"/>
                    </a:lnTo>
                    <a:lnTo>
                      <a:pt x="1166" y="47"/>
                    </a:lnTo>
                    <a:lnTo>
                      <a:pt x="1166" y="0"/>
                    </a:lnTo>
                    <a:lnTo>
                      <a:pt x="1162" y="0"/>
                    </a:lnTo>
                    <a:lnTo>
                      <a:pt x="1162" y="47"/>
                    </a:lnTo>
                    <a:lnTo>
                      <a:pt x="1118" y="47"/>
                    </a:lnTo>
                    <a:lnTo>
                      <a:pt x="1118" y="0"/>
                    </a:lnTo>
                    <a:lnTo>
                      <a:pt x="1113" y="0"/>
                    </a:lnTo>
                    <a:lnTo>
                      <a:pt x="1113" y="47"/>
                    </a:lnTo>
                    <a:lnTo>
                      <a:pt x="1069" y="47"/>
                    </a:lnTo>
                    <a:lnTo>
                      <a:pt x="1069" y="0"/>
                    </a:lnTo>
                    <a:lnTo>
                      <a:pt x="1065" y="0"/>
                    </a:lnTo>
                    <a:lnTo>
                      <a:pt x="1065" y="47"/>
                    </a:lnTo>
                    <a:lnTo>
                      <a:pt x="1021" y="47"/>
                    </a:lnTo>
                    <a:lnTo>
                      <a:pt x="1021" y="0"/>
                    </a:lnTo>
                    <a:lnTo>
                      <a:pt x="1016" y="0"/>
                    </a:lnTo>
                    <a:lnTo>
                      <a:pt x="1016" y="47"/>
                    </a:lnTo>
                    <a:lnTo>
                      <a:pt x="972" y="47"/>
                    </a:lnTo>
                    <a:lnTo>
                      <a:pt x="972" y="0"/>
                    </a:lnTo>
                    <a:lnTo>
                      <a:pt x="967" y="0"/>
                    </a:lnTo>
                    <a:lnTo>
                      <a:pt x="967" y="47"/>
                    </a:lnTo>
                    <a:lnTo>
                      <a:pt x="924" y="47"/>
                    </a:lnTo>
                    <a:lnTo>
                      <a:pt x="924" y="0"/>
                    </a:lnTo>
                    <a:lnTo>
                      <a:pt x="919" y="0"/>
                    </a:lnTo>
                    <a:lnTo>
                      <a:pt x="919" y="47"/>
                    </a:lnTo>
                    <a:lnTo>
                      <a:pt x="875" y="47"/>
                    </a:lnTo>
                    <a:lnTo>
                      <a:pt x="875" y="0"/>
                    </a:lnTo>
                    <a:lnTo>
                      <a:pt x="870" y="0"/>
                    </a:lnTo>
                    <a:lnTo>
                      <a:pt x="870" y="47"/>
                    </a:lnTo>
                    <a:lnTo>
                      <a:pt x="826" y="47"/>
                    </a:lnTo>
                    <a:lnTo>
                      <a:pt x="826" y="0"/>
                    </a:lnTo>
                    <a:lnTo>
                      <a:pt x="822" y="0"/>
                    </a:lnTo>
                    <a:lnTo>
                      <a:pt x="822" y="47"/>
                    </a:lnTo>
                    <a:lnTo>
                      <a:pt x="729" y="47"/>
                    </a:lnTo>
                    <a:lnTo>
                      <a:pt x="729" y="0"/>
                    </a:lnTo>
                    <a:lnTo>
                      <a:pt x="725" y="0"/>
                    </a:lnTo>
                    <a:lnTo>
                      <a:pt x="725" y="47"/>
                    </a:lnTo>
                    <a:lnTo>
                      <a:pt x="681" y="47"/>
                    </a:lnTo>
                    <a:lnTo>
                      <a:pt x="681" y="0"/>
                    </a:lnTo>
                    <a:lnTo>
                      <a:pt x="676" y="0"/>
                    </a:lnTo>
                    <a:lnTo>
                      <a:pt x="676" y="47"/>
                    </a:lnTo>
                    <a:lnTo>
                      <a:pt x="632" y="47"/>
                    </a:lnTo>
                    <a:lnTo>
                      <a:pt x="632" y="0"/>
                    </a:lnTo>
                    <a:lnTo>
                      <a:pt x="628" y="0"/>
                    </a:lnTo>
                    <a:lnTo>
                      <a:pt x="628" y="47"/>
                    </a:lnTo>
                    <a:lnTo>
                      <a:pt x="584" y="47"/>
                    </a:lnTo>
                    <a:lnTo>
                      <a:pt x="584" y="0"/>
                    </a:lnTo>
                    <a:lnTo>
                      <a:pt x="579" y="0"/>
                    </a:lnTo>
                    <a:lnTo>
                      <a:pt x="579" y="47"/>
                    </a:lnTo>
                    <a:lnTo>
                      <a:pt x="535" y="47"/>
                    </a:lnTo>
                    <a:lnTo>
                      <a:pt x="535" y="0"/>
                    </a:lnTo>
                    <a:lnTo>
                      <a:pt x="531" y="0"/>
                    </a:lnTo>
                    <a:lnTo>
                      <a:pt x="531" y="47"/>
                    </a:lnTo>
                    <a:lnTo>
                      <a:pt x="487" y="47"/>
                    </a:lnTo>
                    <a:lnTo>
                      <a:pt x="487" y="0"/>
                    </a:lnTo>
                    <a:lnTo>
                      <a:pt x="482" y="0"/>
                    </a:lnTo>
                    <a:lnTo>
                      <a:pt x="482" y="47"/>
                    </a:lnTo>
                    <a:lnTo>
                      <a:pt x="438" y="47"/>
                    </a:lnTo>
                    <a:lnTo>
                      <a:pt x="438" y="0"/>
                    </a:lnTo>
                    <a:lnTo>
                      <a:pt x="434" y="0"/>
                    </a:lnTo>
                    <a:lnTo>
                      <a:pt x="434" y="47"/>
                    </a:lnTo>
                    <a:lnTo>
                      <a:pt x="390" y="47"/>
                    </a:lnTo>
                    <a:lnTo>
                      <a:pt x="390" y="0"/>
                    </a:lnTo>
                    <a:lnTo>
                      <a:pt x="385" y="0"/>
                    </a:lnTo>
                    <a:lnTo>
                      <a:pt x="385" y="47"/>
                    </a:lnTo>
                    <a:lnTo>
                      <a:pt x="341" y="47"/>
                    </a:lnTo>
                    <a:lnTo>
                      <a:pt x="341" y="0"/>
                    </a:lnTo>
                    <a:lnTo>
                      <a:pt x="337" y="0"/>
                    </a:lnTo>
                    <a:lnTo>
                      <a:pt x="337" y="47"/>
                    </a:lnTo>
                    <a:lnTo>
                      <a:pt x="293" y="47"/>
                    </a:lnTo>
                    <a:lnTo>
                      <a:pt x="293" y="0"/>
                    </a:lnTo>
                    <a:lnTo>
                      <a:pt x="288" y="0"/>
                    </a:lnTo>
                    <a:lnTo>
                      <a:pt x="288" y="47"/>
                    </a:lnTo>
                    <a:lnTo>
                      <a:pt x="246" y="47"/>
                    </a:lnTo>
                    <a:lnTo>
                      <a:pt x="246" y="0"/>
                    </a:lnTo>
                    <a:lnTo>
                      <a:pt x="240" y="0"/>
                    </a:lnTo>
                    <a:lnTo>
                      <a:pt x="240" y="47"/>
                    </a:lnTo>
                    <a:lnTo>
                      <a:pt x="197" y="47"/>
                    </a:lnTo>
                    <a:lnTo>
                      <a:pt x="197" y="0"/>
                    </a:lnTo>
                    <a:lnTo>
                      <a:pt x="191" y="0"/>
                    </a:lnTo>
                    <a:lnTo>
                      <a:pt x="191" y="47"/>
                    </a:lnTo>
                    <a:lnTo>
                      <a:pt x="149" y="47"/>
                    </a:lnTo>
                    <a:lnTo>
                      <a:pt x="149" y="0"/>
                    </a:lnTo>
                    <a:lnTo>
                      <a:pt x="143" y="0"/>
                    </a:lnTo>
                    <a:lnTo>
                      <a:pt x="143" y="47"/>
                    </a:lnTo>
                    <a:lnTo>
                      <a:pt x="100" y="47"/>
                    </a:lnTo>
                    <a:lnTo>
                      <a:pt x="100" y="0"/>
                    </a:lnTo>
                    <a:lnTo>
                      <a:pt x="94" y="0"/>
                    </a:lnTo>
                    <a:lnTo>
                      <a:pt x="94" y="47"/>
                    </a:lnTo>
                    <a:lnTo>
                      <a:pt x="52" y="47"/>
                    </a:lnTo>
                    <a:lnTo>
                      <a:pt x="52" y="0"/>
                    </a:lnTo>
                    <a:lnTo>
                      <a:pt x="46" y="0"/>
                    </a:lnTo>
                    <a:lnTo>
                      <a:pt x="46" y="47"/>
                    </a:lnTo>
                    <a:lnTo>
                      <a:pt x="0" y="47"/>
                    </a:lnTo>
                    <a:lnTo>
                      <a:pt x="0" y="51"/>
                    </a:lnTo>
                    <a:lnTo>
                      <a:pt x="46" y="51"/>
                    </a:lnTo>
                    <a:lnTo>
                      <a:pt x="46" y="95"/>
                    </a:lnTo>
                    <a:lnTo>
                      <a:pt x="0" y="95"/>
                    </a:lnTo>
                    <a:lnTo>
                      <a:pt x="0" y="100"/>
                    </a:lnTo>
                    <a:lnTo>
                      <a:pt x="46" y="100"/>
                    </a:lnTo>
                    <a:lnTo>
                      <a:pt x="46" y="144"/>
                    </a:lnTo>
                    <a:lnTo>
                      <a:pt x="0" y="144"/>
                    </a:lnTo>
                    <a:lnTo>
                      <a:pt x="0" y="149"/>
                    </a:lnTo>
                    <a:lnTo>
                      <a:pt x="46" y="149"/>
                    </a:lnTo>
                    <a:lnTo>
                      <a:pt x="46" y="193"/>
                    </a:lnTo>
                    <a:lnTo>
                      <a:pt x="0" y="193"/>
                    </a:lnTo>
                    <a:lnTo>
                      <a:pt x="0" y="197"/>
                    </a:lnTo>
                    <a:lnTo>
                      <a:pt x="46" y="197"/>
                    </a:lnTo>
                    <a:lnTo>
                      <a:pt x="46" y="241"/>
                    </a:lnTo>
                    <a:lnTo>
                      <a:pt x="0" y="241"/>
                    </a:lnTo>
                    <a:lnTo>
                      <a:pt x="0" y="246"/>
                    </a:lnTo>
                    <a:lnTo>
                      <a:pt x="46" y="246"/>
                    </a:lnTo>
                    <a:lnTo>
                      <a:pt x="46" y="290"/>
                    </a:lnTo>
                    <a:lnTo>
                      <a:pt x="0" y="290"/>
                    </a:lnTo>
                    <a:lnTo>
                      <a:pt x="0" y="294"/>
                    </a:lnTo>
                    <a:lnTo>
                      <a:pt x="46" y="294"/>
                    </a:lnTo>
                    <a:lnTo>
                      <a:pt x="46" y="338"/>
                    </a:lnTo>
                    <a:lnTo>
                      <a:pt x="0" y="338"/>
                    </a:lnTo>
                    <a:lnTo>
                      <a:pt x="0" y="343"/>
                    </a:lnTo>
                    <a:lnTo>
                      <a:pt x="46" y="343"/>
                    </a:lnTo>
                    <a:lnTo>
                      <a:pt x="46" y="387"/>
                    </a:lnTo>
                    <a:lnTo>
                      <a:pt x="0" y="387"/>
                    </a:lnTo>
                    <a:lnTo>
                      <a:pt x="0" y="391"/>
                    </a:lnTo>
                    <a:lnTo>
                      <a:pt x="46" y="391"/>
                    </a:lnTo>
                    <a:lnTo>
                      <a:pt x="46" y="435"/>
                    </a:lnTo>
                    <a:lnTo>
                      <a:pt x="0" y="435"/>
                    </a:lnTo>
                    <a:lnTo>
                      <a:pt x="0" y="440"/>
                    </a:lnTo>
                    <a:lnTo>
                      <a:pt x="46" y="440"/>
                    </a:lnTo>
                    <a:lnTo>
                      <a:pt x="46" y="531"/>
                    </a:lnTo>
                    <a:lnTo>
                      <a:pt x="0" y="531"/>
                    </a:lnTo>
                    <a:lnTo>
                      <a:pt x="0" y="537"/>
                    </a:lnTo>
                    <a:lnTo>
                      <a:pt x="46" y="537"/>
                    </a:lnTo>
                    <a:lnTo>
                      <a:pt x="46" y="580"/>
                    </a:lnTo>
                    <a:lnTo>
                      <a:pt x="0" y="580"/>
                    </a:lnTo>
                    <a:lnTo>
                      <a:pt x="0" y="586"/>
                    </a:lnTo>
                    <a:lnTo>
                      <a:pt x="46" y="586"/>
                    </a:lnTo>
                    <a:lnTo>
                      <a:pt x="46" y="628"/>
                    </a:lnTo>
                    <a:lnTo>
                      <a:pt x="0" y="628"/>
                    </a:lnTo>
                    <a:lnTo>
                      <a:pt x="0" y="634"/>
                    </a:lnTo>
                    <a:lnTo>
                      <a:pt x="46" y="634"/>
                    </a:lnTo>
                    <a:lnTo>
                      <a:pt x="46" y="677"/>
                    </a:lnTo>
                    <a:lnTo>
                      <a:pt x="0" y="677"/>
                    </a:lnTo>
                    <a:lnTo>
                      <a:pt x="0" y="683"/>
                    </a:lnTo>
                    <a:lnTo>
                      <a:pt x="46" y="683"/>
                    </a:lnTo>
                    <a:lnTo>
                      <a:pt x="46" y="725"/>
                    </a:lnTo>
                    <a:lnTo>
                      <a:pt x="0" y="725"/>
                    </a:lnTo>
                    <a:lnTo>
                      <a:pt x="0" y="730"/>
                    </a:lnTo>
                    <a:lnTo>
                      <a:pt x="46" y="730"/>
                    </a:lnTo>
                    <a:lnTo>
                      <a:pt x="46" y="774"/>
                    </a:lnTo>
                    <a:lnTo>
                      <a:pt x="0" y="774"/>
                    </a:lnTo>
                    <a:lnTo>
                      <a:pt x="0" y="778"/>
                    </a:lnTo>
                    <a:lnTo>
                      <a:pt x="46" y="778"/>
                    </a:lnTo>
                    <a:lnTo>
                      <a:pt x="46" y="822"/>
                    </a:lnTo>
                    <a:lnTo>
                      <a:pt x="0" y="822"/>
                    </a:lnTo>
                    <a:lnTo>
                      <a:pt x="0" y="827"/>
                    </a:lnTo>
                    <a:lnTo>
                      <a:pt x="46" y="827"/>
                    </a:lnTo>
                    <a:lnTo>
                      <a:pt x="46" y="871"/>
                    </a:lnTo>
                    <a:lnTo>
                      <a:pt x="0" y="871"/>
                    </a:lnTo>
                    <a:lnTo>
                      <a:pt x="0" y="876"/>
                    </a:lnTo>
                    <a:lnTo>
                      <a:pt x="46" y="876"/>
                    </a:lnTo>
                    <a:lnTo>
                      <a:pt x="46" y="920"/>
                    </a:lnTo>
                    <a:lnTo>
                      <a:pt x="0" y="920"/>
                    </a:lnTo>
                    <a:lnTo>
                      <a:pt x="0" y="924"/>
                    </a:lnTo>
                    <a:lnTo>
                      <a:pt x="46" y="924"/>
                    </a:lnTo>
                    <a:lnTo>
                      <a:pt x="46" y="971"/>
                    </a:lnTo>
                    <a:lnTo>
                      <a:pt x="52" y="971"/>
                    </a:lnTo>
                    <a:lnTo>
                      <a:pt x="52" y="924"/>
                    </a:lnTo>
                    <a:lnTo>
                      <a:pt x="94" y="924"/>
                    </a:lnTo>
                    <a:lnTo>
                      <a:pt x="94" y="971"/>
                    </a:lnTo>
                    <a:lnTo>
                      <a:pt x="100" y="971"/>
                    </a:lnTo>
                    <a:lnTo>
                      <a:pt x="100" y="924"/>
                    </a:lnTo>
                    <a:lnTo>
                      <a:pt x="143" y="924"/>
                    </a:lnTo>
                    <a:lnTo>
                      <a:pt x="143" y="971"/>
                    </a:lnTo>
                    <a:lnTo>
                      <a:pt x="149" y="971"/>
                    </a:lnTo>
                    <a:lnTo>
                      <a:pt x="149" y="924"/>
                    </a:lnTo>
                    <a:lnTo>
                      <a:pt x="191" y="924"/>
                    </a:lnTo>
                    <a:lnTo>
                      <a:pt x="191" y="971"/>
                    </a:lnTo>
                    <a:lnTo>
                      <a:pt x="197" y="971"/>
                    </a:lnTo>
                    <a:lnTo>
                      <a:pt x="197" y="924"/>
                    </a:lnTo>
                    <a:lnTo>
                      <a:pt x="240" y="924"/>
                    </a:lnTo>
                    <a:lnTo>
                      <a:pt x="240" y="971"/>
                    </a:lnTo>
                    <a:lnTo>
                      <a:pt x="246" y="971"/>
                    </a:lnTo>
                    <a:lnTo>
                      <a:pt x="246" y="924"/>
                    </a:lnTo>
                    <a:lnTo>
                      <a:pt x="288" y="924"/>
                    </a:lnTo>
                    <a:lnTo>
                      <a:pt x="288" y="971"/>
                    </a:lnTo>
                    <a:lnTo>
                      <a:pt x="293" y="971"/>
                    </a:lnTo>
                    <a:lnTo>
                      <a:pt x="293" y="924"/>
                    </a:lnTo>
                    <a:lnTo>
                      <a:pt x="337" y="924"/>
                    </a:lnTo>
                    <a:lnTo>
                      <a:pt x="337" y="971"/>
                    </a:lnTo>
                    <a:lnTo>
                      <a:pt x="341" y="971"/>
                    </a:lnTo>
                    <a:lnTo>
                      <a:pt x="341" y="924"/>
                    </a:lnTo>
                    <a:lnTo>
                      <a:pt x="385" y="924"/>
                    </a:lnTo>
                    <a:lnTo>
                      <a:pt x="385" y="971"/>
                    </a:lnTo>
                    <a:lnTo>
                      <a:pt x="390" y="971"/>
                    </a:lnTo>
                    <a:lnTo>
                      <a:pt x="390" y="924"/>
                    </a:lnTo>
                    <a:lnTo>
                      <a:pt x="434" y="924"/>
                    </a:lnTo>
                    <a:lnTo>
                      <a:pt x="434" y="971"/>
                    </a:lnTo>
                    <a:lnTo>
                      <a:pt x="438" y="971"/>
                    </a:lnTo>
                    <a:lnTo>
                      <a:pt x="438" y="924"/>
                    </a:lnTo>
                    <a:lnTo>
                      <a:pt x="482" y="924"/>
                    </a:lnTo>
                    <a:lnTo>
                      <a:pt x="482" y="971"/>
                    </a:lnTo>
                    <a:lnTo>
                      <a:pt x="487" y="971"/>
                    </a:lnTo>
                    <a:lnTo>
                      <a:pt x="487" y="924"/>
                    </a:lnTo>
                    <a:lnTo>
                      <a:pt x="531" y="924"/>
                    </a:lnTo>
                    <a:lnTo>
                      <a:pt x="531" y="971"/>
                    </a:lnTo>
                    <a:lnTo>
                      <a:pt x="535" y="971"/>
                    </a:lnTo>
                    <a:lnTo>
                      <a:pt x="535" y="924"/>
                    </a:lnTo>
                    <a:lnTo>
                      <a:pt x="579" y="924"/>
                    </a:lnTo>
                    <a:lnTo>
                      <a:pt x="579" y="971"/>
                    </a:lnTo>
                    <a:lnTo>
                      <a:pt x="584" y="971"/>
                    </a:lnTo>
                    <a:lnTo>
                      <a:pt x="584" y="924"/>
                    </a:lnTo>
                    <a:lnTo>
                      <a:pt x="628" y="924"/>
                    </a:lnTo>
                    <a:lnTo>
                      <a:pt x="628" y="971"/>
                    </a:lnTo>
                    <a:lnTo>
                      <a:pt x="632" y="971"/>
                    </a:lnTo>
                    <a:lnTo>
                      <a:pt x="632" y="924"/>
                    </a:lnTo>
                    <a:lnTo>
                      <a:pt x="676" y="924"/>
                    </a:lnTo>
                    <a:lnTo>
                      <a:pt x="676" y="971"/>
                    </a:lnTo>
                    <a:lnTo>
                      <a:pt x="681" y="971"/>
                    </a:lnTo>
                    <a:lnTo>
                      <a:pt x="681" y="924"/>
                    </a:lnTo>
                    <a:lnTo>
                      <a:pt x="725" y="924"/>
                    </a:lnTo>
                    <a:lnTo>
                      <a:pt x="725" y="971"/>
                    </a:lnTo>
                    <a:lnTo>
                      <a:pt x="729" y="971"/>
                    </a:lnTo>
                    <a:lnTo>
                      <a:pt x="729" y="924"/>
                    </a:lnTo>
                    <a:lnTo>
                      <a:pt x="822" y="924"/>
                    </a:lnTo>
                    <a:lnTo>
                      <a:pt x="822" y="971"/>
                    </a:lnTo>
                    <a:lnTo>
                      <a:pt x="826" y="971"/>
                    </a:lnTo>
                    <a:lnTo>
                      <a:pt x="826" y="924"/>
                    </a:lnTo>
                    <a:lnTo>
                      <a:pt x="870" y="924"/>
                    </a:lnTo>
                    <a:lnTo>
                      <a:pt x="870" y="971"/>
                    </a:lnTo>
                    <a:lnTo>
                      <a:pt x="875" y="971"/>
                    </a:lnTo>
                    <a:lnTo>
                      <a:pt x="875" y="924"/>
                    </a:lnTo>
                    <a:lnTo>
                      <a:pt x="919" y="924"/>
                    </a:lnTo>
                    <a:lnTo>
                      <a:pt x="919" y="971"/>
                    </a:lnTo>
                    <a:lnTo>
                      <a:pt x="924" y="971"/>
                    </a:lnTo>
                    <a:lnTo>
                      <a:pt x="924" y="924"/>
                    </a:lnTo>
                    <a:lnTo>
                      <a:pt x="967" y="924"/>
                    </a:lnTo>
                    <a:lnTo>
                      <a:pt x="967" y="971"/>
                    </a:lnTo>
                    <a:lnTo>
                      <a:pt x="972" y="971"/>
                    </a:lnTo>
                    <a:lnTo>
                      <a:pt x="972" y="924"/>
                    </a:lnTo>
                    <a:lnTo>
                      <a:pt x="1016" y="924"/>
                    </a:lnTo>
                    <a:lnTo>
                      <a:pt x="1016" y="971"/>
                    </a:lnTo>
                    <a:lnTo>
                      <a:pt x="1021" y="971"/>
                    </a:lnTo>
                    <a:lnTo>
                      <a:pt x="1021" y="924"/>
                    </a:lnTo>
                    <a:lnTo>
                      <a:pt x="1065" y="924"/>
                    </a:lnTo>
                    <a:lnTo>
                      <a:pt x="1065" y="971"/>
                    </a:lnTo>
                    <a:lnTo>
                      <a:pt x="1069" y="971"/>
                    </a:lnTo>
                    <a:lnTo>
                      <a:pt x="1069" y="924"/>
                    </a:lnTo>
                    <a:lnTo>
                      <a:pt x="1113" y="924"/>
                    </a:lnTo>
                    <a:lnTo>
                      <a:pt x="1113" y="971"/>
                    </a:lnTo>
                    <a:lnTo>
                      <a:pt x="1118" y="971"/>
                    </a:lnTo>
                    <a:lnTo>
                      <a:pt x="1118" y="924"/>
                    </a:lnTo>
                    <a:lnTo>
                      <a:pt x="1162" y="924"/>
                    </a:lnTo>
                    <a:lnTo>
                      <a:pt x="1162" y="971"/>
                    </a:lnTo>
                    <a:lnTo>
                      <a:pt x="1166" y="971"/>
                    </a:lnTo>
                    <a:lnTo>
                      <a:pt x="1166" y="924"/>
                    </a:lnTo>
                    <a:lnTo>
                      <a:pt x="1210" y="924"/>
                    </a:lnTo>
                    <a:lnTo>
                      <a:pt x="1210" y="971"/>
                    </a:lnTo>
                    <a:lnTo>
                      <a:pt x="1215" y="971"/>
                    </a:lnTo>
                    <a:lnTo>
                      <a:pt x="1215" y="924"/>
                    </a:lnTo>
                    <a:lnTo>
                      <a:pt x="1259" y="924"/>
                    </a:lnTo>
                    <a:lnTo>
                      <a:pt x="1259" y="971"/>
                    </a:lnTo>
                    <a:lnTo>
                      <a:pt x="1263" y="971"/>
                    </a:lnTo>
                    <a:lnTo>
                      <a:pt x="1263" y="924"/>
                    </a:lnTo>
                    <a:lnTo>
                      <a:pt x="1307" y="924"/>
                    </a:lnTo>
                    <a:lnTo>
                      <a:pt x="1307" y="971"/>
                    </a:lnTo>
                    <a:lnTo>
                      <a:pt x="1312" y="971"/>
                    </a:lnTo>
                    <a:lnTo>
                      <a:pt x="1312" y="924"/>
                    </a:lnTo>
                    <a:lnTo>
                      <a:pt x="1354" y="924"/>
                    </a:lnTo>
                    <a:lnTo>
                      <a:pt x="1354" y="971"/>
                    </a:lnTo>
                    <a:lnTo>
                      <a:pt x="1360" y="971"/>
                    </a:lnTo>
                    <a:lnTo>
                      <a:pt x="1360" y="924"/>
                    </a:lnTo>
                    <a:lnTo>
                      <a:pt x="1403" y="924"/>
                    </a:lnTo>
                    <a:lnTo>
                      <a:pt x="1403" y="971"/>
                    </a:lnTo>
                    <a:lnTo>
                      <a:pt x="1409" y="971"/>
                    </a:lnTo>
                    <a:lnTo>
                      <a:pt x="1409" y="924"/>
                    </a:lnTo>
                    <a:lnTo>
                      <a:pt x="1451" y="924"/>
                    </a:lnTo>
                    <a:lnTo>
                      <a:pt x="1451" y="971"/>
                    </a:lnTo>
                    <a:lnTo>
                      <a:pt x="1457" y="971"/>
                    </a:lnTo>
                    <a:lnTo>
                      <a:pt x="1457" y="924"/>
                    </a:lnTo>
                    <a:lnTo>
                      <a:pt x="1500" y="924"/>
                    </a:lnTo>
                    <a:lnTo>
                      <a:pt x="1500" y="971"/>
                    </a:lnTo>
                    <a:lnTo>
                      <a:pt x="1506" y="971"/>
                    </a:lnTo>
                    <a:lnTo>
                      <a:pt x="1506" y="924"/>
                    </a:lnTo>
                    <a:lnTo>
                      <a:pt x="1551" y="924"/>
                    </a:lnTo>
                    <a:lnTo>
                      <a:pt x="1551" y="920"/>
                    </a:lnTo>
                    <a:lnTo>
                      <a:pt x="1506" y="920"/>
                    </a:lnTo>
                    <a:lnTo>
                      <a:pt x="1506" y="876"/>
                    </a:lnTo>
                    <a:lnTo>
                      <a:pt x="1551" y="876"/>
                    </a:lnTo>
                    <a:lnTo>
                      <a:pt x="1551" y="871"/>
                    </a:lnTo>
                    <a:lnTo>
                      <a:pt x="1506" y="871"/>
                    </a:lnTo>
                    <a:lnTo>
                      <a:pt x="1506" y="827"/>
                    </a:lnTo>
                    <a:lnTo>
                      <a:pt x="1551" y="827"/>
                    </a:lnTo>
                    <a:lnTo>
                      <a:pt x="1551" y="822"/>
                    </a:lnTo>
                    <a:lnTo>
                      <a:pt x="1506" y="822"/>
                    </a:lnTo>
                    <a:lnTo>
                      <a:pt x="1506" y="778"/>
                    </a:lnTo>
                    <a:lnTo>
                      <a:pt x="1551" y="778"/>
                    </a:lnTo>
                    <a:lnTo>
                      <a:pt x="1551" y="774"/>
                    </a:lnTo>
                    <a:lnTo>
                      <a:pt x="1506" y="774"/>
                    </a:lnTo>
                    <a:lnTo>
                      <a:pt x="1506" y="730"/>
                    </a:lnTo>
                    <a:lnTo>
                      <a:pt x="1551" y="730"/>
                    </a:lnTo>
                    <a:lnTo>
                      <a:pt x="1551" y="725"/>
                    </a:lnTo>
                    <a:lnTo>
                      <a:pt x="1506" y="725"/>
                    </a:lnTo>
                    <a:lnTo>
                      <a:pt x="1506" y="683"/>
                    </a:lnTo>
                    <a:lnTo>
                      <a:pt x="1551" y="683"/>
                    </a:lnTo>
                    <a:lnTo>
                      <a:pt x="1551" y="677"/>
                    </a:lnTo>
                    <a:lnTo>
                      <a:pt x="1506" y="677"/>
                    </a:lnTo>
                    <a:lnTo>
                      <a:pt x="1506" y="634"/>
                    </a:lnTo>
                    <a:lnTo>
                      <a:pt x="1551" y="634"/>
                    </a:lnTo>
                    <a:lnTo>
                      <a:pt x="1551" y="628"/>
                    </a:lnTo>
                    <a:lnTo>
                      <a:pt x="1506" y="628"/>
                    </a:lnTo>
                    <a:lnTo>
                      <a:pt x="1506" y="586"/>
                    </a:lnTo>
                    <a:lnTo>
                      <a:pt x="1551" y="586"/>
                    </a:lnTo>
                    <a:lnTo>
                      <a:pt x="1551" y="580"/>
                    </a:lnTo>
                    <a:lnTo>
                      <a:pt x="1506" y="580"/>
                    </a:lnTo>
                    <a:lnTo>
                      <a:pt x="1506" y="537"/>
                    </a:lnTo>
                    <a:lnTo>
                      <a:pt x="1551" y="537"/>
                    </a:lnTo>
                    <a:lnTo>
                      <a:pt x="1551" y="531"/>
                    </a:lnTo>
                    <a:lnTo>
                      <a:pt x="1506" y="531"/>
                    </a:lnTo>
                    <a:lnTo>
                      <a:pt x="1506" y="440"/>
                    </a:lnTo>
                    <a:lnTo>
                      <a:pt x="1551" y="440"/>
                    </a:lnTo>
                    <a:lnTo>
                      <a:pt x="1551" y="435"/>
                    </a:lnTo>
                    <a:lnTo>
                      <a:pt x="1506" y="435"/>
                    </a:lnTo>
                    <a:lnTo>
                      <a:pt x="1506" y="391"/>
                    </a:lnTo>
                    <a:lnTo>
                      <a:pt x="1551" y="391"/>
                    </a:lnTo>
                    <a:lnTo>
                      <a:pt x="1551" y="387"/>
                    </a:lnTo>
                    <a:lnTo>
                      <a:pt x="1506" y="387"/>
                    </a:lnTo>
                    <a:lnTo>
                      <a:pt x="1506" y="343"/>
                    </a:lnTo>
                    <a:lnTo>
                      <a:pt x="1551" y="343"/>
                    </a:lnTo>
                    <a:lnTo>
                      <a:pt x="1551" y="338"/>
                    </a:lnTo>
                    <a:lnTo>
                      <a:pt x="1506" y="338"/>
                    </a:lnTo>
                    <a:lnTo>
                      <a:pt x="1506" y="294"/>
                    </a:lnTo>
                    <a:lnTo>
                      <a:pt x="1551" y="294"/>
                    </a:lnTo>
                    <a:lnTo>
                      <a:pt x="1551" y="290"/>
                    </a:lnTo>
                    <a:lnTo>
                      <a:pt x="1506" y="290"/>
                    </a:lnTo>
                    <a:lnTo>
                      <a:pt x="1506" y="246"/>
                    </a:lnTo>
                    <a:lnTo>
                      <a:pt x="1551" y="246"/>
                    </a:lnTo>
                    <a:lnTo>
                      <a:pt x="1551" y="241"/>
                    </a:lnTo>
                    <a:lnTo>
                      <a:pt x="1506" y="241"/>
                    </a:lnTo>
                    <a:lnTo>
                      <a:pt x="1506" y="197"/>
                    </a:lnTo>
                    <a:lnTo>
                      <a:pt x="1551" y="197"/>
                    </a:lnTo>
                    <a:lnTo>
                      <a:pt x="1551" y="193"/>
                    </a:lnTo>
                    <a:lnTo>
                      <a:pt x="1506" y="193"/>
                    </a:lnTo>
                    <a:lnTo>
                      <a:pt x="1506" y="149"/>
                    </a:lnTo>
                    <a:lnTo>
                      <a:pt x="1551" y="149"/>
                    </a:lnTo>
                    <a:lnTo>
                      <a:pt x="1551" y="144"/>
                    </a:lnTo>
                    <a:lnTo>
                      <a:pt x="1506" y="144"/>
                    </a:lnTo>
                    <a:lnTo>
                      <a:pt x="1506" y="100"/>
                    </a:lnTo>
                    <a:lnTo>
                      <a:pt x="1551" y="100"/>
                    </a:lnTo>
                    <a:lnTo>
                      <a:pt x="1551" y="95"/>
                    </a:lnTo>
                    <a:lnTo>
                      <a:pt x="1506" y="95"/>
                    </a:lnTo>
                    <a:lnTo>
                      <a:pt x="1506" y="51"/>
                    </a:lnTo>
                    <a:lnTo>
                      <a:pt x="1551" y="51"/>
                    </a:lnTo>
                    <a:close/>
                    <a:moveTo>
                      <a:pt x="1451" y="51"/>
                    </a:moveTo>
                    <a:lnTo>
                      <a:pt x="1451" y="95"/>
                    </a:lnTo>
                    <a:lnTo>
                      <a:pt x="1409" y="95"/>
                    </a:lnTo>
                    <a:lnTo>
                      <a:pt x="1409" y="51"/>
                    </a:lnTo>
                    <a:lnTo>
                      <a:pt x="1451" y="51"/>
                    </a:lnTo>
                    <a:close/>
                    <a:moveTo>
                      <a:pt x="487" y="440"/>
                    </a:moveTo>
                    <a:lnTo>
                      <a:pt x="531" y="440"/>
                    </a:lnTo>
                    <a:lnTo>
                      <a:pt x="531" y="531"/>
                    </a:lnTo>
                    <a:lnTo>
                      <a:pt x="487" y="531"/>
                    </a:lnTo>
                    <a:lnTo>
                      <a:pt x="487" y="440"/>
                    </a:lnTo>
                    <a:close/>
                    <a:moveTo>
                      <a:pt x="482" y="531"/>
                    </a:moveTo>
                    <a:lnTo>
                      <a:pt x="438" y="531"/>
                    </a:lnTo>
                    <a:lnTo>
                      <a:pt x="438" y="440"/>
                    </a:lnTo>
                    <a:lnTo>
                      <a:pt x="482" y="440"/>
                    </a:lnTo>
                    <a:lnTo>
                      <a:pt x="482" y="531"/>
                    </a:lnTo>
                    <a:close/>
                    <a:moveTo>
                      <a:pt x="535" y="440"/>
                    </a:moveTo>
                    <a:lnTo>
                      <a:pt x="579" y="440"/>
                    </a:lnTo>
                    <a:lnTo>
                      <a:pt x="579" y="531"/>
                    </a:lnTo>
                    <a:lnTo>
                      <a:pt x="535" y="531"/>
                    </a:lnTo>
                    <a:lnTo>
                      <a:pt x="535" y="440"/>
                    </a:lnTo>
                    <a:close/>
                    <a:moveTo>
                      <a:pt x="584" y="440"/>
                    </a:moveTo>
                    <a:lnTo>
                      <a:pt x="628" y="440"/>
                    </a:lnTo>
                    <a:lnTo>
                      <a:pt x="628" y="531"/>
                    </a:lnTo>
                    <a:lnTo>
                      <a:pt x="584" y="531"/>
                    </a:lnTo>
                    <a:lnTo>
                      <a:pt x="584" y="440"/>
                    </a:lnTo>
                    <a:close/>
                    <a:moveTo>
                      <a:pt x="632" y="440"/>
                    </a:moveTo>
                    <a:lnTo>
                      <a:pt x="676" y="440"/>
                    </a:lnTo>
                    <a:lnTo>
                      <a:pt x="676" y="531"/>
                    </a:lnTo>
                    <a:lnTo>
                      <a:pt x="632" y="531"/>
                    </a:lnTo>
                    <a:lnTo>
                      <a:pt x="632" y="440"/>
                    </a:lnTo>
                    <a:close/>
                    <a:moveTo>
                      <a:pt x="681" y="440"/>
                    </a:moveTo>
                    <a:lnTo>
                      <a:pt x="725" y="440"/>
                    </a:lnTo>
                    <a:lnTo>
                      <a:pt x="725" y="531"/>
                    </a:lnTo>
                    <a:lnTo>
                      <a:pt x="681" y="531"/>
                    </a:lnTo>
                    <a:lnTo>
                      <a:pt x="681" y="440"/>
                    </a:lnTo>
                    <a:close/>
                    <a:moveTo>
                      <a:pt x="729" y="440"/>
                    </a:moveTo>
                    <a:lnTo>
                      <a:pt x="822" y="440"/>
                    </a:lnTo>
                    <a:lnTo>
                      <a:pt x="822" y="531"/>
                    </a:lnTo>
                    <a:lnTo>
                      <a:pt x="729" y="531"/>
                    </a:lnTo>
                    <a:lnTo>
                      <a:pt x="729" y="440"/>
                    </a:lnTo>
                    <a:close/>
                    <a:moveTo>
                      <a:pt x="826" y="440"/>
                    </a:moveTo>
                    <a:lnTo>
                      <a:pt x="870" y="440"/>
                    </a:lnTo>
                    <a:lnTo>
                      <a:pt x="870" y="531"/>
                    </a:lnTo>
                    <a:lnTo>
                      <a:pt x="826" y="531"/>
                    </a:lnTo>
                    <a:lnTo>
                      <a:pt x="826" y="440"/>
                    </a:lnTo>
                    <a:close/>
                    <a:moveTo>
                      <a:pt x="875" y="440"/>
                    </a:moveTo>
                    <a:lnTo>
                      <a:pt x="919" y="440"/>
                    </a:lnTo>
                    <a:lnTo>
                      <a:pt x="919" y="531"/>
                    </a:lnTo>
                    <a:lnTo>
                      <a:pt x="875" y="531"/>
                    </a:lnTo>
                    <a:lnTo>
                      <a:pt x="875" y="440"/>
                    </a:lnTo>
                    <a:close/>
                    <a:moveTo>
                      <a:pt x="924" y="440"/>
                    </a:moveTo>
                    <a:lnTo>
                      <a:pt x="967" y="440"/>
                    </a:lnTo>
                    <a:lnTo>
                      <a:pt x="967" y="531"/>
                    </a:lnTo>
                    <a:lnTo>
                      <a:pt x="924" y="531"/>
                    </a:lnTo>
                    <a:lnTo>
                      <a:pt x="924" y="440"/>
                    </a:lnTo>
                    <a:close/>
                    <a:moveTo>
                      <a:pt x="972" y="440"/>
                    </a:moveTo>
                    <a:lnTo>
                      <a:pt x="1016" y="440"/>
                    </a:lnTo>
                    <a:lnTo>
                      <a:pt x="1016" y="531"/>
                    </a:lnTo>
                    <a:lnTo>
                      <a:pt x="972" y="531"/>
                    </a:lnTo>
                    <a:lnTo>
                      <a:pt x="972" y="440"/>
                    </a:lnTo>
                    <a:close/>
                    <a:moveTo>
                      <a:pt x="1021" y="440"/>
                    </a:moveTo>
                    <a:lnTo>
                      <a:pt x="1065" y="440"/>
                    </a:lnTo>
                    <a:lnTo>
                      <a:pt x="1065" y="531"/>
                    </a:lnTo>
                    <a:lnTo>
                      <a:pt x="1021" y="531"/>
                    </a:lnTo>
                    <a:lnTo>
                      <a:pt x="1021" y="440"/>
                    </a:lnTo>
                    <a:close/>
                    <a:moveTo>
                      <a:pt x="1069" y="440"/>
                    </a:moveTo>
                    <a:lnTo>
                      <a:pt x="1113" y="440"/>
                    </a:lnTo>
                    <a:lnTo>
                      <a:pt x="1113" y="531"/>
                    </a:lnTo>
                    <a:lnTo>
                      <a:pt x="1069" y="531"/>
                    </a:lnTo>
                    <a:lnTo>
                      <a:pt x="1069" y="440"/>
                    </a:lnTo>
                    <a:close/>
                    <a:moveTo>
                      <a:pt x="1069" y="435"/>
                    </a:moveTo>
                    <a:lnTo>
                      <a:pt x="1069" y="391"/>
                    </a:lnTo>
                    <a:lnTo>
                      <a:pt x="1113" y="391"/>
                    </a:lnTo>
                    <a:lnTo>
                      <a:pt x="1113" y="435"/>
                    </a:lnTo>
                    <a:lnTo>
                      <a:pt x="1069" y="435"/>
                    </a:lnTo>
                    <a:close/>
                    <a:moveTo>
                      <a:pt x="1065" y="435"/>
                    </a:moveTo>
                    <a:lnTo>
                      <a:pt x="1021" y="435"/>
                    </a:lnTo>
                    <a:lnTo>
                      <a:pt x="1021" y="391"/>
                    </a:lnTo>
                    <a:lnTo>
                      <a:pt x="1065" y="391"/>
                    </a:lnTo>
                    <a:lnTo>
                      <a:pt x="1065" y="435"/>
                    </a:lnTo>
                    <a:close/>
                    <a:moveTo>
                      <a:pt x="1016" y="435"/>
                    </a:moveTo>
                    <a:lnTo>
                      <a:pt x="972" y="435"/>
                    </a:lnTo>
                    <a:lnTo>
                      <a:pt x="972" y="391"/>
                    </a:lnTo>
                    <a:lnTo>
                      <a:pt x="1016" y="391"/>
                    </a:lnTo>
                    <a:lnTo>
                      <a:pt x="1016" y="435"/>
                    </a:lnTo>
                    <a:close/>
                    <a:moveTo>
                      <a:pt x="967" y="435"/>
                    </a:moveTo>
                    <a:lnTo>
                      <a:pt x="924" y="435"/>
                    </a:lnTo>
                    <a:lnTo>
                      <a:pt x="924" y="391"/>
                    </a:lnTo>
                    <a:lnTo>
                      <a:pt x="967" y="391"/>
                    </a:lnTo>
                    <a:lnTo>
                      <a:pt x="967" y="435"/>
                    </a:lnTo>
                    <a:close/>
                    <a:moveTo>
                      <a:pt x="919" y="435"/>
                    </a:moveTo>
                    <a:lnTo>
                      <a:pt x="875" y="435"/>
                    </a:lnTo>
                    <a:lnTo>
                      <a:pt x="875" y="391"/>
                    </a:lnTo>
                    <a:lnTo>
                      <a:pt x="919" y="391"/>
                    </a:lnTo>
                    <a:lnTo>
                      <a:pt x="919" y="435"/>
                    </a:lnTo>
                    <a:close/>
                    <a:moveTo>
                      <a:pt x="870" y="435"/>
                    </a:moveTo>
                    <a:lnTo>
                      <a:pt x="826" y="435"/>
                    </a:lnTo>
                    <a:lnTo>
                      <a:pt x="826" y="391"/>
                    </a:lnTo>
                    <a:lnTo>
                      <a:pt x="870" y="391"/>
                    </a:lnTo>
                    <a:lnTo>
                      <a:pt x="870" y="435"/>
                    </a:lnTo>
                    <a:close/>
                    <a:moveTo>
                      <a:pt x="822" y="435"/>
                    </a:moveTo>
                    <a:lnTo>
                      <a:pt x="729" y="435"/>
                    </a:lnTo>
                    <a:lnTo>
                      <a:pt x="729" y="391"/>
                    </a:lnTo>
                    <a:lnTo>
                      <a:pt x="822" y="391"/>
                    </a:lnTo>
                    <a:lnTo>
                      <a:pt x="822" y="435"/>
                    </a:lnTo>
                    <a:close/>
                    <a:moveTo>
                      <a:pt x="725" y="435"/>
                    </a:moveTo>
                    <a:lnTo>
                      <a:pt x="681" y="435"/>
                    </a:lnTo>
                    <a:lnTo>
                      <a:pt x="681" y="391"/>
                    </a:lnTo>
                    <a:lnTo>
                      <a:pt x="725" y="391"/>
                    </a:lnTo>
                    <a:lnTo>
                      <a:pt x="725" y="435"/>
                    </a:lnTo>
                    <a:close/>
                    <a:moveTo>
                      <a:pt x="676" y="435"/>
                    </a:moveTo>
                    <a:lnTo>
                      <a:pt x="632" y="435"/>
                    </a:lnTo>
                    <a:lnTo>
                      <a:pt x="632" y="391"/>
                    </a:lnTo>
                    <a:lnTo>
                      <a:pt x="676" y="391"/>
                    </a:lnTo>
                    <a:lnTo>
                      <a:pt x="676" y="435"/>
                    </a:lnTo>
                    <a:close/>
                    <a:moveTo>
                      <a:pt x="628" y="435"/>
                    </a:moveTo>
                    <a:lnTo>
                      <a:pt x="584" y="435"/>
                    </a:lnTo>
                    <a:lnTo>
                      <a:pt x="584" y="391"/>
                    </a:lnTo>
                    <a:lnTo>
                      <a:pt x="628" y="391"/>
                    </a:lnTo>
                    <a:lnTo>
                      <a:pt x="628" y="435"/>
                    </a:lnTo>
                    <a:close/>
                    <a:moveTo>
                      <a:pt x="579" y="435"/>
                    </a:moveTo>
                    <a:lnTo>
                      <a:pt x="535" y="435"/>
                    </a:lnTo>
                    <a:lnTo>
                      <a:pt x="535" y="391"/>
                    </a:lnTo>
                    <a:lnTo>
                      <a:pt x="579" y="391"/>
                    </a:lnTo>
                    <a:lnTo>
                      <a:pt x="579" y="435"/>
                    </a:lnTo>
                    <a:close/>
                    <a:moveTo>
                      <a:pt x="531" y="435"/>
                    </a:moveTo>
                    <a:lnTo>
                      <a:pt x="487" y="435"/>
                    </a:lnTo>
                    <a:lnTo>
                      <a:pt x="487" y="391"/>
                    </a:lnTo>
                    <a:lnTo>
                      <a:pt x="531" y="391"/>
                    </a:lnTo>
                    <a:lnTo>
                      <a:pt x="531" y="435"/>
                    </a:lnTo>
                    <a:close/>
                    <a:moveTo>
                      <a:pt x="482" y="435"/>
                    </a:moveTo>
                    <a:lnTo>
                      <a:pt x="438" y="435"/>
                    </a:lnTo>
                    <a:lnTo>
                      <a:pt x="438" y="391"/>
                    </a:lnTo>
                    <a:lnTo>
                      <a:pt x="482" y="391"/>
                    </a:lnTo>
                    <a:lnTo>
                      <a:pt x="482" y="435"/>
                    </a:lnTo>
                    <a:close/>
                    <a:moveTo>
                      <a:pt x="434" y="435"/>
                    </a:moveTo>
                    <a:lnTo>
                      <a:pt x="390" y="435"/>
                    </a:lnTo>
                    <a:lnTo>
                      <a:pt x="390" y="391"/>
                    </a:lnTo>
                    <a:lnTo>
                      <a:pt x="434" y="391"/>
                    </a:lnTo>
                    <a:lnTo>
                      <a:pt x="434" y="435"/>
                    </a:lnTo>
                    <a:close/>
                    <a:moveTo>
                      <a:pt x="434" y="440"/>
                    </a:moveTo>
                    <a:lnTo>
                      <a:pt x="434" y="531"/>
                    </a:lnTo>
                    <a:lnTo>
                      <a:pt x="390" y="531"/>
                    </a:lnTo>
                    <a:lnTo>
                      <a:pt x="390" y="440"/>
                    </a:lnTo>
                    <a:lnTo>
                      <a:pt x="434" y="440"/>
                    </a:lnTo>
                    <a:close/>
                    <a:moveTo>
                      <a:pt x="434" y="537"/>
                    </a:moveTo>
                    <a:lnTo>
                      <a:pt x="434" y="580"/>
                    </a:lnTo>
                    <a:lnTo>
                      <a:pt x="390" y="580"/>
                    </a:lnTo>
                    <a:lnTo>
                      <a:pt x="390" y="537"/>
                    </a:lnTo>
                    <a:lnTo>
                      <a:pt x="434" y="537"/>
                    </a:lnTo>
                    <a:close/>
                    <a:moveTo>
                      <a:pt x="438" y="537"/>
                    </a:moveTo>
                    <a:lnTo>
                      <a:pt x="482" y="537"/>
                    </a:lnTo>
                    <a:lnTo>
                      <a:pt x="482" y="580"/>
                    </a:lnTo>
                    <a:lnTo>
                      <a:pt x="438" y="580"/>
                    </a:lnTo>
                    <a:lnTo>
                      <a:pt x="438" y="537"/>
                    </a:lnTo>
                    <a:close/>
                    <a:moveTo>
                      <a:pt x="487" y="537"/>
                    </a:moveTo>
                    <a:lnTo>
                      <a:pt x="531" y="537"/>
                    </a:lnTo>
                    <a:lnTo>
                      <a:pt x="531" y="580"/>
                    </a:lnTo>
                    <a:lnTo>
                      <a:pt x="487" y="580"/>
                    </a:lnTo>
                    <a:lnTo>
                      <a:pt x="487" y="537"/>
                    </a:lnTo>
                    <a:close/>
                    <a:moveTo>
                      <a:pt x="535" y="537"/>
                    </a:moveTo>
                    <a:lnTo>
                      <a:pt x="579" y="537"/>
                    </a:lnTo>
                    <a:lnTo>
                      <a:pt x="579" y="580"/>
                    </a:lnTo>
                    <a:lnTo>
                      <a:pt x="535" y="580"/>
                    </a:lnTo>
                    <a:lnTo>
                      <a:pt x="535" y="537"/>
                    </a:lnTo>
                    <a:close/>
                    <a:moveTo>
                      <a:pt x="584" y="537"/>
                    </a:moveTo>
                    <a:lnTo>
                      <a:pt x="628" y="537"/>
                    </a:lnTo>
                    <a:lnTo>
                      <a:pt x="628" y="580"/>
                    </a:lnTo>
                    <a:lnTo>
                      <a:pt x="584" y="580"/>
                    </a:lnTo>
                    <a:lnTo>
                      <a:pt x="584" y="537"/>
                    </a:lnTo>
                    <a:close/>
                    <a:moveTo>
                      <a:pt x="632" y="537"/>
                    </a:moveTo>
                    <a:lnTo>
                      <a:pt x="676" y="537"/>
                    </a:lnTo>
                    <a:lnTo>
                      <a:pt x="676" y="580"/>
                    </a:lnTo>
                    <a:lnTo>
                      <a:pt x="632" y="580"/>
                    </a:lnTo>
                    <a:lnTo>
                      <a:pt x="632" y="537"/>
                    </a:lnTo>
                    <a:close/>
                    <a:moveTo>
                      <a:pt x="681" y="537"/>
                    </a:moveTo>
                    <a:lnTo>
                      <a:pt x="725" y="537"/>
                    </a:lnTo>
                    <a:lnTo>
                      <a:pt x="725" y="580"/>
                    </a:lnTo>
                    <a:lnTo>
                      <a:pt x="681" y="580"/>
                    </a:lnTo>
                    <a:lnTo>
                      <a:pt x="681" y="537"/>
                    </a:lnTo>
                    <a:close/>
                    <a:moveTo>
                      <a:pt x="729" y="537"/>
                    </a:moveTo>
                    <a:lnTo>
                      <a:pt x="822" y="537"/>
                    </a:lnTo>
                    <a:lnTo>
                      <a:pt x="822" y="580"/>
                    </a:lnTo>
                    <a:lnTo>
                      <a:pt x="729" y="580"/>
                    </a:lnTo>
                    <a:lnTo>
                      <a:pt x="729" y="537"/>
                    </a:lnTo>
                    <a:close/>
                    <a:moveTo>
                      <a:pt x="826" y="537"/>
                    </a:moveTo>
                    <a:lnTo>
                      <a:pt x="870" y="537"/>
                    </a:lnTo>
                    <a:lnTo>
                      <a:pt x="870" y="580"/>
                    </a:lnTo>
                    <a:lnTo>
                      <a:pt x="826" y="580"/>
                    </a:lnTo>
                    <a:lnTo>
                      <a:pt x="826" y="537"/>
                    </a:lnTo>
                    <a:close/>
                    <a:moveTo>
                      <a:pt x="875" y="537"/>
                    </a:moveTo>
                    <a:lnTo>
                      <a:pt x="919" y="537"/>
                    </a:lnTo>
                    <a:lnTo>
                      <a:pt x="919" y="580"/>
                    </a:lnTo>
                    <a:lnTo>
                      <a:pt x="875" y="580"/>
                    </a:lnTo>
                    <a:lnTo>
                      <a:pt x="875" y="537"/>
                    </a:lnTo>
                    <a:close/>
                    <a:moveTo>
                      <a:pt x="924" y="537"/>
                    </a:moveTo>
                    <a:lnTo>
                      <a:pt x="967" y="537"/>
                    </a:lnTo>
                    <a:lnTo>
                      <a:pt x="967" y="580"/>
                    </a:lnTo>
                    <a:lnTo>
                      <a:pt x="924" y="580"/>
                    </a:lnTo>
                    <a:lnTo>
                      <a:pt x="924" y="537"/>
                    </a:lnTo>
                    <a:close/>
                    <a:moveTo>
                      <a:pt x="972" y="537"/>
                    </a:moveTo>
                    <a:lnTo>
                      <a:pt x="1016" y="537"/>
                    </a:lnTo>
                    <a:lnTo>
                      <a:pt x="1016" y="580"/>
                    </a:lnTo>
                    <a:lnTo>
                      <a:pt x="972" y="580"/>
                    </a:lnTo>
                    <a:lnTo>
                      <a:pt x="972" y="537"/>
                    </a:lnTo>
                    <a:close/>
                    <a:moveTo>
                      <a:pt x="1021" y="537"/>
                    </a:moveTo>
                    <a:lnTo>
                      <a:pt x="1065" y="537"/>
                    </a:lnTo>
                    <a:lnTo>
                      <a:pt x="1065" y="580"/>
                    </a:lnTo>
                    <a:lnTo>
                      <a:pt x="1021" y="580"/>
                    </a:lnTo>
                    <a:lnTo>
                      <a:pt x="1021" y="537"/>
                    </a:lnTo>
                    <a:close/>
                    <a:moveTo>
                      <a:pt x="1069" y="537"/>
                    </a:moveTo>
                    <a:lnTo>
                      <a:pt x="1113" y="537"/>
                    </a:lnTo>
                    <a:lnTo>
                      <a:pt x="1113" y="580"/>
                    </a:lnTo>
                    <a:lnTo>
                      <a:pt x="1069" y="580"/>
                    </a:lnTo>
                    <a:lnTo>
                      <a:pt x="1069" y="537"/>
                    </a:lnTo>
                    <a:close/>
                    <a:moveTo>
                      <a:pt x="1118" y="537"/>
                    </a:moveTo>
                    <a:lnTo>
                      <a:pt x="1162" y="537"/>
                    </a:lnTo>
                    <a:lnTo>
                      <a:pt x="1162" y="580"/>
                    </a:lnTo>
                    <a:lnTo>
                      <a:pt x="1118" y="580"/>
                    </a:lnTo>
                    <a:lnTo>
                      <a:pt x="1118" y="537"/>
                    </a:lnTo>
                    <a:close/>
                    <a:moveTo>
                      <a:pt x="1118" y="531"/>
                    </a:moveTo>
                    <a:lnTo>
                      <a:pt x="1118" y="440"/>
                    </a:lnTo>
                    <a:lnTo>
                      <a:pt x="1162" y="440"/>
                    </a:lnTo>
                    <a:lnTo>
                      <a:pt x="1162" y="531"/>
                    </a:lnTo>
                    <a:lnTo>
                      <a:pt x="1118" y="531"/>
                    </a:lnTo>
                    <a:close/>
                    <a:moveTo>
                      <a:pt x="1118" y="435"/>
                    </a:moveTo>
                    <a:lnTo>
                      <a:pt x="1118" y="391"/>
                    </a:lnTo>
                    <a:lnTo>
                      <a:pt x="1162" y="391"/>
                    </a:lnTo>
                    <a:lnTo>
                      <a:pt x="1162" y="435"/>
                    </a:lnTo>
                    <a:lnTo>
                      <a:pt x="1118" y="435"/>
                    </a:lnTo>
                    <a:close/>
                    <a:moveTo>
                      <a:pt x="1118" y="387"/>
                    </a:moveTo>
                    <a:lnTo>
                      <a:pt x="1118" y="343"/>
                    </a:lnTo>
                    <a:lnTo>
                      <a:pt x="1162" y="343"/>
                    </a:lnTo>
                    <a:lnTo>
                      <a:pt x="1162" y="387"/>
                    </a:lnTo>
                    <a:lnTo>
                      <a:pt x="1118" y="387"/>
                    </a:lnTo>
                    <a:close/>
                    <a:moveTo>
                      <a:pt x="1113" y="387"/>
                    </a:moveTo>
                    <a:lnTo>
                      <a:pt x="1069" y="387"/>
                    </a:lnTo>
                    <a:lnTo>
                      <a:pt x="1069" y="343"/>
                    </a:lnTo>
                    <a:lnTo>
                      <a:pt x="1113" y="343"/>
                    </a:lnTo>
                    <a:lnTo>
                      <a:pt x="1113" y="387"/>
                    </a:lnTo>
                    <a:close/>
                    <a:moveTo>
                      <a:pt x="1065" y="387"/>
                    </a:moveTo>
                    <a:lnTo>
                      <a:pt x="1021" y="387"/>
                    </a:lnTo>
                    <a:lnTo>
                      <a:pt x="1021" y="343"/>
                    </a:lnTo>
                    <a:lnTo>
                      <a:pt x="1065" y="343"/>
                    </a:lnTo>
                    <a:lnTo>
                      <a:pt x="1065" y="387"/>
                    </a:lnTo>
                    <a:close/>
                    <a:moveTo>
                      <a:pt x="1016" y="387"/>
                    </a:moveTo>
                    <a:lnTo>
                      <a:pt x="972" y="387"/>
                    </a:lnTo>
                    <a:lnTo>
                      <a:pt x="972" y="343"/>
                    </a:lnTo>
                    <a:lnTo>
                      <a:pt x="1016" y="343"/>
                    </a:lnTo>
                    <a:lnTo>
                      <a:pt x="1016" y="387"/>
                    </a:lnTo>
                    <a:close/>
                    <a:moveTo>
                      <a:pt x="967" y="387"/>
                    </a:moveTo>
                    <a:lnTo>
                      <a:pt x="924" y="387"/>
                    </a:lnTo>
                    <a:lnTo>
                      <a:pt x="924" y="343"/>
                    </a:lnTo>
                    <a:lnTo>
                      <a:pt x="967" y="343"/>
                    </a:lnTo>
                    <a:lnTo>
                      <a:pt x="967" y="387"/>
                    </a:lnTo>
                    <a:close/>
                    <a:moveTo>
                      <a:pt x="919" y="387"/>
                    </a:moveTo>
                    <a:lnTo>
                      <a:pt x="875" y="387"/>
                    </a:lnTo>
                    <a:lnTo>
                      <a:pt x="875" y="343"/>
                    </a:lnTo>
                    <a:lnTo>
                      <a:pt x="919" y="343"/>
                    </a:lnTo>
                    <a:lnTo>
                      <a:pt x="919" y="387"/>
                    </a:lnTo>
                    <a:close/>
                    <a:moveTo>
                      <a:pt x="870" y="387"/>
                    </a:moveTo>
                    <a:lnTo>
                      <a:pt x="826" y="387"/>
                    </a:lnTo>
                    <a:lnTo>
                      <a:pt x="826" y="343"/>
                    </a:lnTo>
                    <a:lnTo>
                      <a:pt x="870" y="343"/>
                    </a:lnTo>
                    <a:lnTo>
                      <a:pt x="870" y="387"/>
                    </a:lnTo>
                    <a:close/>
                    <a:moveTo>
                      <a:pt x="822" y="387"/>
                    </a:moveTo>
                    <a:lnTo>
                      <a:pt x="729" y="387"/>
                    </a:lnTo>
                    <a:lnTo>
                      <a:pt x="729" y="343"/>
                    </a:lnTo>
                    <a:lnTo>
                      <a:pt x="822" y="343"/>
                    </a:lnTo>
                    <a:lnTo>
                      <a:pt x="822" y="387"/>
                    </a:lnTo>
                    <a:close/>
                    <a:moveTo>
                      <a:pt x="725" y="387"/>
                    </a:moveTo>
                    <a:lnTo>
                      <a:pt x="681" y="387"/>
                    </a:lnTo>
                    <a:lnTo>
                      <a:pt x="681" y="343"/>
                    </a:lnTo>
                    <a:lnTo>
                      <a:pt x="725" y="343"/>
                    </a:lnTo>
                    <a:lnTo>
                      <a:pt x="725" y="387"/>
                    </a:lnTo>
                    <a:close/>
                    <a:moveTo>
                      <a:pt x="676" y="387"/>
                    </a:moveTo>
                    <a:lnTo>
                      <a:pt x="632" y="387"/>
                    </a:lnTo>
                    <a:lnTo>
                      <a:pt x="632" y="343"/>
                    </a:lnTo>
                    <a:lnTo>
                      <a:pt x="676" y="343"/>
                    </a:lnTo>
                    <a:lnTo>
                      <a:pt x="676" y="387"/>
                    </a:lnTo>
                    <a:close/>
                    <a:moveTo>
                      <a:pt x="628" y="387"/>
                    </a:moveTo>
                    <a:lnTo>
                      <a:pt x="584" y="387"/>
                    </a:lnTo>
                    <a:lnTo>
                      <a:pt x="584" y="343"/>
                    </a:lnTo>
                    <a:lnTo>
                      <a:pt x="628" y="343"/>
                    </a:lnTo>
                    <a:lnTo>
                      <a:pt x="628" y="387"/>
                    </a:lnTo>
                    <a:close/>
                    <a:moveTo>
                      <a:pt x="579" y="387"/>
                    </a:moveTo>
                    <a:lnTo>
                      <a:pt x="535" y="387"/>
                    </a:lnTo>
                    <a:lnTo>
                      <a:pt x="535" y="343"/>
                    </a:lnTo>
                    <a:lnTo>
                      <a:pt x="579" y="343"/>
                    </a:lnTo>
                    <a:lnTo>
                      <a:pt x="579" y="387"/>
                    </a:lnTo>
                    <a:close/>
                    <a:moveTo>
                      <a:pt x="531" y="387"/>
                    </a:moveTo>
                    <a:lnTo>
                      <a:pt x="487" y="387"/>
                    </a:lnTo>
                    <a:lnTo>
                      <a:pt x="487" y="343"/>
                    </a:lnTo>
                    <a:lnTo>
                      <a:pt x="531" y="343"/>
                    </a:lnTo>
                    <a:lnTo>
                      <a:pt x="531" y="387"/>
                    </a:lnTo>
                    <a:close/>
                    <a:moveTo>
                      <a:pt x="482" y="387"/>
                    </a:moveTo>
                    <a:lnTo>
                      <a:pt x="438" y="387"/>
                    </a:lnTo>
                    <a:lnTo>
                      <a:pt x="438" y="343"/>
                    </a:lnTo>
                    <a:lnTo>
                      <a:pt x="482" y="343"/>
                    </a:lnTo>
                    <a:lnTo>
                      <a:pt x="482" y="387"/>
                    </a:lnTo>
                    <a:close/>
                    <a:moveTo>
                      <a:pt x="434" y="387"/>
                    </a:moveTo>
                    <a:lnTo>
                      <a:pt x="390" y="387"/>
                    </a:lnTo>
                    <a:lnTo>
                      <a:pt x="390" y="343"/>
                    </a:lnTo>
                    <a:lnTo>
                      <a:pt x="434" y="343"/>
                    </a:lnTo>
                    <a:lnTo>
                      <a:pt x="434" y="387"/>
                    </a:lnTo>
                    <a:close/>
                    <a:moveTo>
                      <a:pt x="385" y="387"/>
                    </a:moveTo>
                    <a:lnTo>
                      <a:pt x="341" y="387"/>
                    </a:lnTo>
                    <a:lnTo>
                      <a:pt x="341" y="343"/>
                    </a:lnTo>
                    <a:lnTo>
                      <a:pt x="385" y="343"/>
                    </a:lnTo>
                    <a:lnTo>
                      <a:pt x="385" y="387"/>
                    </a:lnTo>
                    <a:close/>
                    <a:moveTo>
                      <a:pt x="385" y="391"/>
                    </a:moveTo>
                    <a:lnTo>
                      <a:pt x="385" y="435"/>
                    </a:lnTo>
                    <a:lnTo>
                      <a:pt x="341" y="435"/>
                    </a:lnTo>
                    <a:lnTo>
                      <a:pt x="341" y="391"/>
                    </a:lnTo>
                    <a:lnTo>
                      <a:pt x="385" y="391"/>
                    </a:lnTo>
                    <a:close/>
                    <a:moveTo>
                      <a:pt x="385" y="440"/>
                    </a:moveTo>
                    <a:lnTo>
                      <a:pt x="385" y="531"/>
                    </a:lnTo>
                    <a:lnTo>
                      <a:pt x="341" y="531"/>
                    </a:lnTo>
                    <a:lnTo>
                      <a:pt x="341" y="440"/>
                    </a:lnTo>
                    <a:lnTo>
                      <a:pt x="385" y="440"/>
                    </a:lnTo>
                    <a:close/>
                    <a:moveTo>
                      <a:pt x="385" y="537"/>
                    </a:moveTo>
                    <a:lnTo>
                      <a:pt x="385" y="580"/>
                    </a:lnTo>
                    <a:lnTo>
                      <a:pt x="341" y="580"/>
                    </a:lnTo>
                    <a:lnTo>
                      <a:pt x="341" y="537"/>
                    </a:lnTo>
                    <a:lnTo>
                      <a:pt x="385" y="537"/>
                    </a:lnTo>
                    <a:close/>
                    <a:moveTo>
                      <a:pt x="385" y="586"/>
                    </a:moveTo>
                    <a:lnTo>
                      <a:pt x="385" y="628"/>
                    </a:lnTo>
                    <a:lnTo>
                      <a:pt x="341" y="628"/>
                    </a:lnTo>
                    <a:lnTo>
                      <a:pt x="341" y="586"/>
                    </a:lnTo>
                    <a:lnTo>
                      <a:pt x="385" y="586"/>
                    </a:lnTo>
                    <a:close/>
                    <a:moveTo>
                      <a:pt x="390" y="586"/>
                    </a:moveTo>
                    <a:lnTo>
                      <a:pt x="434" y="586"/>
                    </a:lnTo>
                    <a:lnTo>
                      <a:pt x="434" y="628"/>
                    </a:lnTo>
                    <a:lnTo>
                      <a:pt x="390" y="628"/>
                    </a:lnTo>
                    <a:lnTo>
                      <a:pt x="390" y="586"/>
                    </a:lnTo>
                    <a:close/>
                    <a:moveTo>
                      <a:pt x="438" y="586"/>
                    </a:moveTo>
                    <a:lnTo>
                      <a:pt x="482" y="586"/>
                    </a:lnTo>
                    <a:lnTo>
                      <a:pt x="482" y="628"/>
                    </a:lnTo>
                    <a:lnTo>
                      <a:pt x="438" y="628"/>
                    </a:lnTo>
                    <a:lnTo>
                      <a:pt x="438" y="586"/>
                    </a:lnTo>
                    <a:close/>
                    <a:moveTo>
                      <a:pt x="487" y="586"/>
                    </a:moveTo>
                    <a:lnTo>
                      <a:pt x="531" y="586"/>
                    </a:lnTo>
                    <a:lnTo>
                      <a:pt x="531" y="628"/>
                    </a:lnTo>
                    <a:lnTo>
                      <a:pt x="487" y="628"/>
                    </a:lnTo>
                    <a:lnTo>
                      <a:pt x="487" y="586"/>
                    </a:lnTo>
                    <a:close/>
                    <a:moveTo>
                      <a:pt x="535" y="586"/>
                    </a:moveTo>
                    <a:lnTo>
                      <a:pt x="579" y="586"/>
                    </a:lnTo>
                    <a:lnTo>
                      <a:pt x="579" y="628"/>
                    </a:lnTo>
                    <a:lnTo>
                      <a:pt x="535" y="628"/>
                    </a:lnTo>
                    <a:lnTo>
                      <a:pt x="535" y="586"/>
                    </a:lnTo>
                    <a:close/>
                    <a:moveTo>
                      <a:pt x="584" y="586"/>
                    </a:moveTo>
                    <a:lnTo>
                      <a:pt x="628" y="586"/>
                    </a:lnTo>
                    <a:lnTo>
                      <a:pt x="628" y="628"/>
                    </a:lnTo>
                    <a:lnTo>
                      <a:pt x="584" y="628"/>
                    </a:lnTo>
                    <a:lnTo>
                      <a:pt x="584" y="586"/>
                    </a:lnTo>
                    <a:close/>
                    <a:moveTo>
                      <a:pt x="632" y="586"/>
                    </a:moveTo>
                    <a:lnTo>
                      <a:pt x="676" y="586"/>
                    </a:lnTo>
                    <a:lnTo>
                      <a:pt x="676" y="628"/>
                    </a:lnTo>
                    <a:lnTo>
                      <a:pt x="632" y="628"/>
                    </a:lnTo>
                    <a:lnTo>
                      <a:pt x="632" y="586"/>
                    </a:lnTo>
                    <a:close/>
                    <a:moveTo>
                      <a:pt x="681" y="586"/>
                    </a:moveTo>
                    <a:lnTo>
                      <a:pt x="725" y="586"/>
                    </a:lnTo>
                    <a:lnTo>
                      <a:pt x="725" y="628"/>
                    </a:lnTo>
                    <a:lnTo>
                      <a:pt x="681" y="628"/>
                    </a:lnTo>
                    <a:lnTo>
                      <a:pt x="681" y="586"/>
                    </a:lnTo>
                    <a:close/>
                    <a:moveTo>
                      <a:pt x="729" y="586"/>
                    </a:moveTo>
                    <a:lnTo>
                      <a:pt x="822" y="586"/>
                    </a:lnTo>
                    <a:lnTo>
                      <a:pt x="822" y="628"/>
                    </a:lnTo>
                    <a:lnTo>
                      <a:pt x="729" y="628"/>
                    </a:lnTo>
                    <a:lnTo>
                      <a:pt x="729" y="586"/>
                    </a:lnTo>
                    <a:close/>
                    <a:moveTo>
                      <a:pt x="826" y="586"/>
                    </a:moveTo>
                    <a:lnTo>
                      <a:pt x="870" y="586"/>
                    </a:lnTo>
                    <a:lnTo>
                      <a:pt x="870" y="628"/>
                    </a:lnTo>
                    <a:lnTo>
                      <a:pt x="826" y="628"/>
                    </a:lnTo>
                    <a:lnTo>
                      <a:pt x="826" y="586"/>
                    </a:lnTo>
                    <a:close/>
                    <a:moveTo>
                      <a:pt x="875" y="586"/>
                    </a:moveTo>
                    <a:lnTo>
                      <a:pt x="919" y="586"/>
                    </a:lnTo>
                    <a:lnTo>
                      <a:pt x="919" y="628"/>
                    </a:lnTo>
                    <a:lnTo>
                      <a:pt x="875" y="628"/>
                    </a:lnTo>
                    <a:lnTo>
                      <a:pt x="875" y="586"/>
                    </a:lnTo>
                    <a:close/>
                    <a:moveTo>
                      <a:pt x="924" y="586"/>
                    </a:moveTo>
                    <a:lnTo>
                      <a:pt x="967" y="586"/>
                    </a:lnTo>
                    <a:lnTo>
                      <a:pt x="967" y="628"/>
                    </a:lnTo>
                    <a:lnTo>
                      <a:pt x="924" y="628"/>
                    </a:lnTo>
                    <a:lnTo>
                      <a:pt x="924" y="586"/>
                    </a:lnTo>
                    <a:close/>
                    <a:moveTo>
                      <a:pt x="972" y="586"/>
                    </a:moveTo>
                    <a:lnTo>
                      <a:pt x="1016" y="586"/>
                    </a:lnTo>
                    <a:lnTo>
                      <a:pt x="1016" y="628"/>
                    </a:lnTo>
                    <a:lnTo>
                      <a:pt x="972" y="628"/>
                    </a:lnTo>
                    <a:lnTo>
                      <a:pt x="972" y="586"/>
                    </a:lnTo>
                    <a:close/>
                    <a:moveTo>
                      <a:pt x="1021" y="586"/>
                    </a:moveTo>
                    <a:lnTo>
                      <a:pt x="1065" y="586"/>
                    </a:lnTo>
                    <a:lnTo>
                      <a:pt x="1065" y="628"/>
                    </a:lnTo>
                    <a:lnTo>
                      <a:pt x="1021" y="628"/>
                    </a:lnTo>
                    <a:lnTo>
                      <a:pt x="1021" y="586"/>
                    </a:lnTo>
                    <a:close/>
                    <a:moveTo>
                      <a:pt x="1069" y="586"/>
                    </a:moveTo>
                    <a:lnTo>
                      <a:pt x="1113" y="586"/>
                    </a:lnTo>
                    <a:lnTo>
                      <a:pt x="1113" y="628"/>
                    </a:lnTo>
                    <a:lnTo>
                      <a:pt x="1069" y="628"/>
                    </a:lnTo>
                    <a:lnTo>
                      <a:pt x="1069" y="586"/>
                    </a:lnTo>
                    <a:close/>
                    <a:moveTo>
                      <a:pt x="1118" y="586"/>
                    </a:moveTo>
                    <a:lnTo>
                      <a:pt x="1162" y="586"/>
                    </a:lnTo>
                    <a:lnTo>
                      <a:pt x="1162" y="628"/>
                    </a:lnTo>
                    <a:lnTo>
                      <a:pt x="1118" y="628"/>
                    </a:lnTo>
                    <a:lnTo>
                      <a:pt x="1118" y="586"/>
                    </a:lnTo>
                    <a:close/>
                    <a:moveTo>
                      <a:pt x="1166" y="586"/>
                    </a:moveTo>
                    <a:lnTo>
                      <a:pt x="1210" y="586"/>
                    </a:lnTo>
                    <a:lnTo>
                      <a:pt x="1210" y="628"/>
                    </a:lnTo>
                    <a:lnTo>
                      <a:pt x="1166" y="628"/>
                    </a:lnTo>
                    <a:lnTo>
                      <a:pt x="1166" y="586"/>
                    </a:lnTo>
                    <a:close/>
                    <a:moveTo>
                      <a:pt x="1166" y="580"/>
                    </a:moveTo>
                    <a:lnTo>
                      <a:pt x="1166" y="537"/>
                    </a:lnTo>
                    <a:lnTo>
                      <a:pt x="1210" y="537"/>
                    </a:lnTo>
                    <a:lnTo>
                      <a:pt x="1210" y="580"/>
                    </a:lnTo>
                    <a:lnTo>
                      <a:pt x="1166" y="580"/>
                    </a:lnTo>
                    <a:close/>
                    <a:moveTo>
                      <a:pt x="1166" y="531"/>
                    </a:moveTo>
                    <a:lnTo>
                      <a:pt x="1166" y="440"/>
                    </a:lnTo>
                    <a:lnTo>
                      <a:pt x="1210" y="440"/>
                    </a:lnTo>
                    <a:lnTo>
                      <a:pt x="1210" y="531"/>
                    </a:lnTo>
                    <a:lnTo>
                      <a:pt x="1166" y="531"/>
                    </a:lnTo>
                    <a:close/>
                    <a:moveTo>
                      <a:pt x="1166" y="435"/>
                    </a:moveTo>
                    <a:lnTo>
                      <a:pt x="1166" y="391"/>
                    </a:lnTo>
                    <a:lnTo>
                      <a:pt x="1210" y="391"/>
                    </a:lnTo>
                    <a:lnTo>
                      <a:pt x="1210" y="435"/>
                    </a:lnTo>
                    <a:lnTo>
                      <a:pt x="1166" y="435"/>
                    </a:lnTo>
                    <a:close/>
                    <a:moveTo>
                      <a:pt x="1166" y="387"/>
                    </a:moveTo>
                    <a:lnTo>
                      <a:pt x="1166" y="343"/>
                    </a:lnTo>
                    <a:lnTo>
                      <a:pt x="1210" y="343"/>
                    </a:lnTo>
                    <a:lnTo>
                      <a:pt x="1210" y="387"/>
                    </a:lnTo>
                    <a:lnTo>
                      <a:pt x="1166" y="387"/>
                    </a:lnTo>
                    <a:close/>
                    <a:moveTo>
                      <a:pt x="1166" y="338"/>
                    </a:moveTo>
                    <a:lnTo>
                      <a:pt x="1166" y="294"/>
                    </a:lnTo>
                    <a:lnTo>
                      <a:pt x="1210" y="294"/>
                    </a:lnTo>
                    <a:lnTo>
                      <a:pt x="1210" y="338"/>
                    </a:lnTo>
                    <a:lnTo>
                      <a:pt x="1166" y="338"/>
                    </a:lnTo>
                    <a:close/>
                    <a:moveTo>
                      <a:pt x="1162" y="338"/>
                    </a:moveTo>
                    <a:lnTo>
                      <a:pt x="1118" y="338"/>
                    </a:lnTo>
                    <a:lnTo>
                      <a:pt x="1118" y="294"/>
                    </a:lnTo>
                    <a:lnTo>
                      <a:pt x="1162" y="294"/>
                    </a:lnTo>
                    <a:lnTo>
                      <a:pt x="1162" y="338"/>
                    </a:lnTo>
                    <a:close/>
                    <a:moveTo>
                      <a:pt x="1113" y="338"/>
                    </a:moveTo>
                    <a:lnTo>
                      <a:pt x="1069" y="338"/>
                    </a:lnTo>
                    <a:lnTo>
                      <a:pt x="1069" y="294"/>
                    </a:lnTo>
                    <a:lnTo>
                      <a:pt x="1113" y="294"/>
                    </a:lnTo>
                    <a:lnTo>
                      <a:pt x="1113" y="338"/>
                    </a:lnTo>
                    <a:close/>
                    <a:moveTo>
                      <a:pt x="1065" y="338"/>
                    </a:moveTo>
                    <a:lnTo>
                      <a:pt x="1021" y="338"/>
                    </a:lnTo>
                    <a:lnTo>
                      <a:pt x="1021" y="294"/>
                    </a:lnTo>
                    <a:lnTo>
                      <a:pt x="1065" y="294"/>
                    </a:lnTo>
                    <a:lnTo>
                      <a:pt x="1065" y="338"/>
                    </a:lnTo>
                    <a:close/>
                    <a:moveTo>
                      <a:pt x="1016" y="338"/>
                    </a:moveTo>
                    <a:lnTo>
                      <a:pt x="972" y="338"/>
                    </a:lnTo>
                    <a:lnTo>
                      <a:pt x="972" y="294"/>
                    </a:lnTo>
                    <a:lnTo>
                      <a:pt x="1016" y="294"/>
                    </a:lnTo>
                    <a:lnTo>
                      <a:pt x="1016" y="338"/>
                    </a:lnTo>
                    <a:close/>
                    <a:moveTo>
                      <a:pt x="967" y="338"/>
                    </a:moveTo>
                    <a:lnTo>
                      <a:pt x="924" y="338"/>
                    </a:lnTo>
                    <a:lnTo>
                      <a:pt x="924" y="294"/>
                    </a:lnTo>
                    <a:lnTo>
                      <a:pt x="967" y="294"/>
                    </a:lnTo>
                    <a:lnTo>
                      <a:pt x="967" y="338"/>
                    </a:lnTo>
                    <a:close/>
                    <a:moveTo>
                      <a:pt x="919" y="338"/>
                    </a:moveTo>
                    <a:lnTo>
                      <a:pt x="875" y="338"/>
                    </a:lnTo>
                    <a:lnTo>
                      <a:pt x="875" y="294"/>
                    </a:lnTo>
                    <a:lnTo>
                      <a:pt x="919" y="294"/>
                    </a:lnTo>
                    <a:lnTo>
                      <a:pt x="919" y="338"/>
                    </a:lnTo>
                    <a:close/>
                    <a:moveTo>
                      <a:pt x="870" y="338"/>
                    </a:moveTo>
                    <a:lnTo>
                      <a:pt x="826" y="338"/>
                    </a:lnTo>
                    <a:lnTo>
                      <a:pt x="826" y="294"/>
                    </a:lnTo>
                    <a:lnTo>
                      <a:pt x="870" y="294"/>
                    </a:lnTo>
                    <a:lnTo>
                      <a:pt x="870" y="338"/>
                    </a:lnTo>
                    <a:close/>
                    <a:moveTo>
                      <a:pt x="822" y="338"/>
                    </a:moveTo>
                    <a:lnTo>
                      <a:pt x="729" y="338"/>
                    </a:lnTo>
                    <a:lnTo>
                      <a:pt x="729" y="294"/>
                    </a:lnTo>
                    <a:lnTo>
                      <a:pt x="822" y="294"/>
                    </a:lnTo>
                    <a:lnTo>
                      <a:pt x="822" y="338"/>
                    </a:lnTo>
                    <a:close/>
                    <a:moveTo>
                      <a:pt x="725" y="338"/>
                    </a:moveTo>
                    <a:lnTo>
                      <a:pt x="681" y="338"/>
                    </a:lnTo>
                    <a:lnTo>
                      <a:pt x="681" y="294"/>
                    </a:lnTo>
                    <a:lnTo>
                      <a:pt x="725" y="294"/>
                    </a:lnTo>
                    <a:lnTo>
                      <a:pt x="725" y="338"/>
                    </a:lnTo>
                    <a:close/>
                    <a:moveTo>
                      <a:pt x="676" y="338"/>
                    </a:moveTo>
                    <a:lnTo>
                      <a:pt x="632" y="338"/>
                    </a:lnTo>
                    <a:lnTo>
                      <a:pt x="632" y="294"/>
                    </a:lnTo>
                    <a:lnTo>
                      <a:pt x="676" y="294"/>
                    </a:lnTo>
                    <a:lnTo>
                      <a:pt x="676" y="338"/>
                    </a:lnTo>
                    <a:close/>
                    <a:moveTo>
                      <a:pt x="628" y="338"/>
                    </a:moveTo>
                    <a:lnTo>
                      <a:pt x="584" y="338"/>
                    </a:lnTo>
                    <a:lnTo>
                      <a:pt x="584" y="294"/>
                    </a:lnTo>
                    <a:lnTo>
                      <a:pt x="628" y="294"/>
                    </a:lnTo>
                    <a:lnTo>
                      <a:pt x="628" y="338"/>
                    </a:lnTo>
                    <a:close/>
                    <a:moveTo>
                      <a:pt x="579" y="338"/>
                    </a:moveTo>
                    <a:lnTo>
                      <a:pt x="535" y="338"/>
                    </a:lnTo>
                    <a:lnTo>
                      <a:pt x="535" y="294"/>
                    </a:lnTo>
                    <a:lnTo>
                      <a:pt x="579" y="294"/>
                    </a:lnTo>
                    <a:lnTo>
                      <a:pt x="579" y="338"/>
                    </a:lnTo>
                    <a:close/>
                    <a:moveTo>
                      <a:pt x="531" y="338"/>
                    </a:moveTo>
                    <a:lnTo>
                      <a:pt x="487" y="338"/>
                    </a:lnTo>
                    <a:lnTo>
                      <a:pt x="487" y="294"/>
                    </a:lnTo>
                    <a:lnTo>
                      <a:pt x="531" y="294"/>
                    </a:lnTo>
                    <a:lnTo>
                      <a:pt x="531" y="338"/>
                    </a:lnTo>
                    <a:close/>
                    <a:moveTo>
                      <a:pt x="482" y="338"/>
                    </a:moveTo>
                    <a:lnTo>
                      <a:pt x="438" y="338"/>
                    </a:lnTo>
                    <a:lnTo>
                      <a:pt x="438" y="294"/>
                    </a:lnTo>
                    <a:lnTo>
                      <a:pt x="482" y="294"/>
                    </a:lnTo>
                    <a:lnTo>
                      <a:pt x="482" y="338"/>
                    </a:lnTo>
                    <a:close/>
                    <a:moveTo>
                      <a:pt x="434" y="338"/>
                    </a:moveTo>
                    <a:lnTo>
                      <a:pt x="390" y="338"/>
                    </a:lnTo>
                    <a:lnTo>
                      <a:pt x="390" y="294"/>
                    </a:lnTo>
                    <a:lnTo>
                      <a:pt x="434" y="294"/>
                    </a:lnTo>
                    <a:lnTo>
                      <a:pt x="434" y="338"/>
                    </a:lnTo>
                    <a:close/>
                    <a:moveTo>
                      <a:pt x="385" y="338"/>
                    </a:moveTo>
                    <a:lnTo>
                      <a:pt x="341" y="338"/>
                    </a:lnTo>
                    <a:lnTo>
                      <a:pt x="341" y="294"/>
                    </a:lnTo>
                    <a:lnTo>
                      <a:pt x="385" y="294"/>
                    </a:lnTo>
                    <a:lnTo>
                      <a:pt x="385" y="338"/>
                    </a:lnTo>
                    <a:close/>
                    <a:moveTo>
                      <a:pt x="337" y="338"/>
                    </a:moveTo>
                    <a:lnTo>
                      <a:pt x="293" y="338"/>
                    </a:lnTo>
                    <a:lnTo>
                      <a:pt x="293" y="294"/>
                    </a:lnTo>
                    <a:lnTo>
                      <a:pt x="337" y="294"/>
                    </a:lnTo>
                    <a:lnTo>
                      <a:pt x="337" y="338"/>
                    </a:lnTo>
                    <a:close/>
                    <a:moveTo>
                      <a:pt x="337" y="343"/>
                    </a:moveTo>
                    <a:lnTo>
                      <a:pt x="337" y="387"/>
                    </a:lnTo>
                    <a:lnTo>
                      <a:pt x="293" y="387"/>
                    </a:lnTo>
                    <a:lnTo>
                      <a:pt x="293" y="343"/>
                    </a:lnTo>
                    <a:lnTo>
                      <a:pt x="337" y="343"/>
                    </a:lnTo>
                    <a:close/>
                    <a:moveTo>
                      <a:pt x="337" y="391"/>
                    </a:moveTo>
                    <a:lnTo>
                      <a:pt x="337" y="435"/>
                    </a:lnTo>
                    <a:lnTo>
                      <a:pt x="293" y="435"/>
                    </a:lnTo>
                    <a:lnTo>
                      <a:pt x="293" y="391"/>
                    </a:lnTo>
                    <a:lnTo>
                      <a:pt x="337" y="391"/>
                    </a:lnTo>
                    <a:close/>
                    <a:moveTo>
                      <a:pt x="337" y="440"/>
                    </a:moveTo>
                    <a:lnTo>
                      <a:pt x="337" y="531"/>
                    </a:lnTo>
                    <a:lnTo>
                      <a:pt x="293" y="531"/>
                    </a:lnTo>
                    <a:lnTo>
                      <a:pt x="293" y="440"/>
                    </a:lnTo>
                    <a:lnTo>
                      <a:pt x="337" y="440"/>
                    </a:lnTo>
                    <a:close/>
                    <a:moveTo>
                      <a:pt x="337" y="537"/>
                    </a:moveTo>
                    <a:lnTo>
                      <a:pt x="337" y="580"/>
                    </a:lnTo>
                    <a:lnTo>
                      <a:pt x="293" y="580"/>
                    </a:lnTo>
                    <a:lnTo>
                      <a:pt x="293" y="537"/>
                    </a:lnTo>
                    <a:lnTo>
                      <a:pt x="337" y="537"/>
                    </a:lnTo>
                    <a:close/>
                    <a:moveTo>
                      <a:pt x="337" y="586"/>
                    </a:moveTo>
                    <a:lnTo>
                      <a:pt x="337" y="628"/>
                    </a:lnTo>
                    <a:lnTo>
                      <a:pt x="293" y="628"/>
                    </a:lnTo>
                    <a:lnTo>
                      <a:pt x="293" y="586"/>
                    </a:lnTo>
                    <a:lnTo>
                      <a:pt x="337" y="586"/>
                    </a:lnTo>
                    <a:close/>
                    <a:moveTo>
                      <a:pt x="337" y="634"/>
                    </a:moveTo>
                    <a:lnTo>
                      <a:pt x="337" y="677"/>
                    </a:lnTo>
                    <a:lnTo>
                      <a:pt x="293" y="677"/>
                    </a:lnTo>
                    <a:lnTo>
                      <a:pt x="293" y="634"/>
                    </a:lnTo>
                    <a:lnTo>
                      <a:pt x="337" y="634"/>
                    </a:lnTo>
                    <a:close/>
                    <a:moveTo>
                      <a:pt x="341" y="634"/>
                    </a:moveTo>
                    <a:lnTo>
                      <a:pt x="385" y="634"/>
                    </a:lnTo>
                    <a:lnTo>
                      <a:pt x="385" y="677"/>
                    </a:lnTo>
                    <a:lnTo>
                      <a:pt x="341" y="677"/>
                    </a:lnTo>
                    <a:lnTo>
                      <a:pt x="341" y="634"/>
                    </a:lnTo>
                    <a:close/>
                    <a:moveTo>
                      <a:pt x="390" y="634"/>
                    </a:moveTo>
                    <a:lnTo>
                      <a:pt x="434" y="634"/>
                    </a:lnTo>
                    <a:lnTo>
                      <a:pt x="434" y="677"/>
                    </a:lnTo>
                    <a:lnTo>
                      <a:pt x="390" y="677"/>
                    </a:lnTo>
                    <a:lnTo>
                      <a:pt x="390" y="634"/>
                    </a:lnTo>
                    <a:close/>
                    <a:moveTo>
                      <a:pt x="438" y="634"/>
                    </a:moveTo>
                    <a:lnTo>
                      <a:pt x="482" y="634"/>
                    </a:lnTo>
                    <a:lnTo>
                      <a:pt x="482" y="677"/>
                    </a:lnTo>
                    <a:lnTo>
                      <a:pt x="438" y="677"/>
                    </a:lnTo>
                    <a:lnTo>
                      <a:pt x="438" y="634"/>
                    </a:lnTo>
                    <a:close/>
                    <a:moveTo>
                      <a:pt x="487" y="634"/>
                    </a:moveTo>
                    <a:lnTo>
                      <a:pt x="531" y="634"/>
                    </a:lnTo>
                    <a:lnTo>
                      <a:pt x="531" y="677"/>
                    </a:lnTo>
                    <a:lnTo>
                      <a:pt x="487" y="677"/>
                    </a:lnTo>
                    <a:lnTo>
                      <a:pt x="487" y="634"/>
                    </a:lnTo>
                    <a:close/>
                    <a:moveTo>
                      <a:pt x="535" y="634"/>
                    </a:moveTo>
                    <a:lnTo>
                      <a:pt x="579" y="634"/>
                    </a:lnTo>
                    <a:lnTo>
                      <a:pt x="579" y="677"/>
                    </a:lnTo>
                    <a:lnTo>
                      <a:pt x="535" y="677"/>
                    </a:lnTo>
                    <a:lnTo>
                      <a:pt x="535" y="634"/>
                    </a:lnTo>
                    <a:close/>
                    <a:moveTo>
                      <a:pt x="584" y="634"/>
                    </a:moveTo>
                    <a:lnTo>
                      <a:pt x="628" y="634"/>
                    </a:lnTo>
                    <a:lnTo>
                      <a:pt x="628" y="677"/>
                    </a:lnTo>
                    <a:lnTo>
                      <a:pt x="584" y="677"/>
                    </a:lnTo>
                    <a:lnTo>
                      <a:pt x="584" y="634"/>
                    </a:lnTo>
                    <a:close/>
                    <a:moveTo>
                      <a:pt x="632" y="634"/>
                    </a:moveTo>
                    <a:lnTo>
                      <a:pt x="676" y="634"/>
                    </a:lnTo>
                    <a:lnTo>
                      <a:pt x="676" y="677"/>
                    </a:lnTo>
                    <a:lnTo>
                      <a:pt x="632" y="677"/>
                    </a:lnTo>
                    <a:lnTo>
                      <a:pt x="632" y="634"/>
                    </a:lnTo>
                    <a:close/>
                    <a:moveTo>
                      <a:pt x="681" y="634"/>
                    </a:moveTo>
                    <a:lnTo>
                      <a:pt x="725" y="634"/>
                    </a:lnTo>
                    <a:lnTo>
                      <a:pt x="725" y="677"/>
                    </a:lnTo>
                    <a:lnTo>
                      <a:pt x="681" y="677"/>
                    </a:lnTo>
                    <a:lnTo>
                      <a:pt x="681" y="634"/>
                    </a:lnTo>
                    <a:close/>
                    <a:moveTo>
                      <a:pt x="729" y="634"/>
                    </a:moveTo>
                    <a:lnTo>
                      <a:pt x="822" y="634"/>
                    </a:lnTo>
                    <a:lnTo>
                      <a:pt x="822" y="677"/>
                    </a:lnTo>
                    <a:lnTo>
                      <a:pt x="729" y="677"/>
                    </a:lnTo>
                    <a:lnTo>
                      <a:pt x="729" y="634"/>
                    </a:lnTo>
                    <a:close/>
                    <a:moveTo>
                      <a:pt x="826" y="634"/>
                    </a:moveTo>
                    <a:lnTo>
                      <a:pt x="870" y="634"/>
                    </a:lnTo>
                    <a:lnTo>
                      <a:pt x="870" y="677"/>
                    </a:lnTo>
                    <a:lnTo>
                      <a:pt x="826" y="677"/>
                    </a:lnTo>
                    <a:lnTo>
                      <a:pt x="826" y="634"/>
                    </a:lnTo>
                    <a:close/>
                    <a:moveTo>
                      <a:pt x="875" y="634"/>
                    </a:moveTo>
                    <a:lnTo>
                      <a:pt x="919" y="634"/>
                    </a:lnTo>
                    <a:lnTo>
                      <a:pt x="919" y="677"/>
                    </a:lnTo>
                    <a:lnTo>
                      <a:pt x="875" y="677"/>
                    </a:lnTo>
                    <a:lnTo>
                      <a:pt x="875" y="634"/>
                    </a:lnTo>
                    <a:close/>
                    <a:moveTo>
                      <a:pt x="924" y="634"/>
                    </a:moveTo>
                    <a:lnTo>
                      <a:pt x="967" y="634"/>
                    </a:lnTo>
                    <a:lnTo>
                      <a:pt x="967" y="677"/>
                    </a:lnTo>
                    <a:lnTo>
                      <a:pt x="924" y="677"/>
                    </a:lnTo>
                    <a:lnTo>
                      <a:pt x="924" y="634"/>
                    </a:lnTo>
                    <a:close/>
                    <a:moveTo>
                      <a:pt x="972" y="634"/>
                    </a:moveTo>
                    <a:lnTo>
                      <a:pt x="1016" y="634"/>
                    </a:lnTo>
                    <a:lnTo>
                      <a:pt x="1016" y="677"/>
                    </a:lnTo>
                    <a:lnTo>
                      <a:pt x="972" y="677"/>
                    </a:lnTo>
                    <a:lnTo>
                      <a:pt x="972" y="634"/>
                    </a:lnTo>
                    <a:close/>
                    <a:moveTo>
                      <a:pt x="1021" y="634"/>
                    </a:moveTo>
                    <a:lnTo>
                      <a:pt x="1065" y="634"/>
                    </a:lnTo>
                    <a:lnTo>
                      <a:pt x="1065" y="677"/>
                    </a:lnTo>
                    <a:lnTo>
                      <a:pt x="1021" y="677"/>
                    </a:lnTo>
                    <a:lnTo>
                      <a:pt x="1021" y="634"/>
                    </a:lnTo>
                    <a:close/>
                    <a:moveTo>
                      <a:pt x="1069" y="634"/>
                    </a:moveTo>
                    <a:lnTo>
                      <a:pt x="1113" y="634"/>
                    </a:lnTo>
                    <a:lnTo>
                      <a:pt x="1113" y="677"/>
                    </a:lnTo>
                    <a:lnTo>
                      <a:pt x="1069" y="677"/>
                    </a:lnTo>
                    <a:lnTo>
                      <a:pt x="1069" y="634"/>
                    </a:lnTo>
                    <a:close/>
                    <a:moveTo>
                      <a:pt x="1118" y="634"/>
                    </a:moveTo>
                    <a:lnTo>
                      <a:pt x="1162" y="634"/>
                    </a:lnTo>
                    <a:lnTo>
                      <a:pt x="1162" y="677"/>
                    </a:lnTo>
                    <a:lnTo>
                      <a:pt x="1118" y="677"/>
                    </a:lnTo>
                    <a:lnTo>
                      <a:pt x="1118" y="634"/>
                    </a:lnTo>
                    <a:close/>
                    <a:moveTo>
                      <a:pt x="1166" y="634"/>
                    </a:moveTo>
                    <a:lnTo>
                      <a:pt x="1210" y="634"/>
                    </a:lnTo>
                    <a:lnTo>
                      <a:pt x="1210" y="677"/>
                    </a:lnTo>
                    <a:lnTo>
                      <a:pt x="1166" y="677"/>
                    </a:lnTo>
                    <a:lnTo>
                      <a:pt x="1166" y="634"/>
                    </a:lnTo>
                    <a:close/>
                    <a:moveTo>
                      <a:pt x="1215" y="634"/>
                    </a:moveTo>
                    <a:lnTo>
                      <a:pt x="1259" y="634"/>
                    </a:lnTo>
                    <a:lnTo>
                      <a:pt x="1259" y="677"/>
                    </a:lnTo>
                    <a:lnTo>
                      <a:pt x="1215" y="677"/>
                    </a:lnTo>
                    <a:lnTo>
                      <a:pt x="1215" y="634"/>
                    </a:lnTo>
                    <a:close/>
                    <a:moveTo>
                      <a:pt x="1215" y="628"/>
                    </a:moveTo>
                    <a:lnTo>
                      <a:pt x="1215" y="586"/>
                    </a:lnTo>
                    <a:lnTo>
                      <a:pt x="1259" y="586"/>
                    </a:lnTo>
                    <a:lnTo>
                      <a:pt x="1259" y="628"/>
                    </a:lnTo>
                    <a:lnTo>
                      <a:pt x="1215" y="628"/>
                    </a:lnTo>
                    <a:close/>
                    <a:moveTo>
                      <a:pt x="1215" y="580"/>
                    </a:moveTo>
                    <a:lnTo>
                      <a:pt x="1215" y="537"/>
                    </a:lnTo>
                    <a:lnTo>
                      <a:pt x="1259" y="537"/>
                    </a:lnTo>
                    <a:lnTo>
                      <a:pt x="1259" y="580"/>
                    </a:lnTo>
                    <a:lnTo>
                      <a:pt x="1215" y="580"/>
                    </a:lnTo>
                    <a:close/>
                    <a:moveTo>
                      <a:pt x="1215" y="531"/>
                    </a:moveTo>
                    <a:lnTo>
                      <a:pt x="1215" y="440"/>
                    </a:lnTo>
                    <a:lnTo>
                      <a:pt x="1259" y="440"/>
                    </a:lnTo>
                    <a:lnTo>
                      <a:pt x="1259" y="531"/>
                    </a:lnTo>
                    <a:lnTo>
                      <a:pt x="1215" y="531"/>
                    </a:lnTo>
                    <a:close/>
                    <a:moveTo>
                      <a:pt x="1215" y="435"/>
                    </a:moveTo>
                    <a:lnTo>
                      <a:pt x="1215" y="391"/>
                    </a:lnTo>
                    <a:lnTo>
                      <a:pt x="1259" y="391"/>
                    </a:lnTo>
                    <a:lnTo>
                      <a:pt x="1259" y="435"/>
                    </a:lnTo>
                    <a:lnTo>
                      <a:pt x="1215" y="435"/>
                    </a:lnTo>
                    <a:close/>
                    <a:moveTo>
                      <a:pt x="1215" y="387"/>
                    </a:moveTo>
                    <a:lnTo>
                      <a:pt x="1215" y="343"/>
                    </a:lnTo>
                    <a:lnTo>
                      <a:pt x="1259" y="343"/>
                    </a:lnTo>
                    <a:lnTo>
                      <a:pt x="1259" y="387"/>
                    </a:lnTo>
                    <a:lnTo>
                      <a:pt x="1215" y="387"/>
                    </a:lnTo>
                    <a:close/>
                    <a:moveTo>
                      <a:pt x="1215" y="338"/>
                    </a:moveTo>
                    <a:lnTo>
                      <a:pt x="1215" y="294"/>
                    </a:lnTo>
                    <a:lnTo>
                      <a:pt x="1259" y="294"/>
                    </a:lnTo>
                    <a:lnTo>
                      <a:pt x="1259" y="338"/>
                    </a:lnTo>
                    <a:lnTo>
                      <a:pt x="1215" y="338"/>
                    </a:lnTo>
                    <a:close/>
                    <a:moveTo>
                      <a:pt x="1215" y="290"/>
                    </a:moveTo>
                    <a:lnTo>
                      <a:pt x="1215" y="246"/>
                    </a:lnTo>
                    <a:lnTo>
                      <a:pt x="1259" y="246"/>
                    </a:lnTo>
                    <a:lnTo>
                      <a:pt x="1259" y="290"/>
                    </a:lnTo>
                    <a:lnTo>
                      <a:pt x="1215" y="290"/>
                    </a:lnTo>
                    <a:close/>
                    <a:moveTo>
                      <a:pt x="1210" y="290"/>
                    </a:moveTo>
                    <a:lnTo>
                      <a:pt x="1166" y="290"/>
                    </a:lnTo>
                    <a:lnTo>
                      <a:pt x="1166" y="246"/>
                    </a:lnTo>
                    <a:lnTo>
                      <a:pt x="1210" y="246"/>
                    </a:lnTo>
                    <a:lnTo>
                      <a:pt x="1210" y="290"/>
                    </a:lnTo>
                    <a:close/>
                    <a:moveTo>
                      <a:pt x="1162" y="290"/>
                    </a:moveTo>
                    <a:lnTo>
                      <a:pt x="1118" y="290"/>
                    </a:lnTo>
                    <a:lnTo>
                      <a:pt x="1118" y="246"/>
                    </a:lnTo>
                    <a:lnTo>
                      <a:pt x="1162" y="246"/>
                    </a:lnTo>
                    <a:lnTo>
                      <a:pt x="1162" y="290"/>
                    </a:lnTo>
                    <a:close/>
                    <a:moveTo>
                      <a:pt x="1113" y="290"/>
                    </a:moveTo>
                    <a:lnTo>
                      <a:pt x="1069" y="290"/>
                    </a:lnTo>
                    <a:lnTo>
                      <a:pt x="1069" y="246"/>
                    </a:lnTo>
                    <a:lnTo>
                      <a:pt x="1113" y="246"/>
                    </a:lnTo>
                    <a:lnTo>
                      <a:pt x="1113" y="290"/>
                    </a:lnTo>
                    <a:close/>
                    <a:moveTo>
                      <a:pt x="1065" y="290"/>
                    </a:moveTo>
                    <a:lnTo>
                      <a:pt x="1021" y="290"/>
                    </a:lnTo>
                    <a:lnTo>
                      <a:pt x="1021" y="246"/>
                    </a:lnTo>
                    <a:lnTo>
                      <a:pt x="1065" y="246"/>
                    </a:lnTo>
                    <a:lnTo>
                      <a:pt x="1065" y="290"/>
                    </a:lnTo>
                    <a:close/>
                    <a:moveTo>
                      <a:pt x="1016" y="290"/>
                    </a:moveTo>
                    <a:lnTo>
                      <a:pt x="972" y="290"/>
                    </a:lnTo>
                    <a:lnTo>
                      <a:pt x="972" y="246"/>
                    </a:lnTo>
                    <a:lnTo>
                      <a:pt x="1016" y="246"/>
                    </a:lnTo>
                    <a:lnTo>
                      <a:pt x="1016" y="290"/>
                    </a:lnTo>
                    <a:close/>
                    <a:moveTo>
                      <a:pt x="967" y="290"/>
                    </a:moveTo>
                    <a:lnTo>
                      <a:pt x="924" y="290"/>
                    </a:lnTo>
                    <a:lnTo>
                      <a:pt x="924" y="246"/>
                    </a:lnTo>
                    <a:lnTo>
                      <a:pt x="967" y="246"/>
                    </a:lnTo>
                    <a:lnTo>
                      <a:pt x="967" y="290"/>
                    </a:lnTo>
                    <a:close/>
                    <a:moveTo>
                      <a:pt x="919" y="290"/>
                    </a:moveTo>
                    <a:lnTo>
                      <a:pt x="875" y="290"/>
                    </a:lnTo>
                    <a:lnTo>
                      <a:pt x="875" y="246"/>
                    </a:lnTo>
                    <a:lnTo>
                      <a:pt x="919" y="246"/>
                    </a:lnTo>
                    <a:lnTo>
                      <a:pt x="919" y="290"/>
                    </a:lnTo>
                    <a:close/>
                    <a:moveTo>
                      <a:pt x="870" y="290"/>
                    </a:moveTo>
                    <a:lnTo>
                      <a:pt x="826" y="290"/>
                    </a:lnTo>
                    <a:lnTo>
                      <a:pt x="826" y="246"/>
                    </a:lnTo>
                    <a:lnTo>
                      <a:pt x="870" y="246"/>
                    </a:lnTo>
                    <a:lnTo>
                      <a:pt x="870" y="290"/>
                    </a:lnTo>
                    <a:close/>
                    <a:moveTo>
                      <a:pt x="822" y="290"/>
                    </a:moveTo>
                    <a:lnTo>
                      <a:pt x="729" y="290"/>
                    </a:lnTo>
                    <a:lnTo>
                      <a:pt x="729" y="246"/>
                    </a:lnTo>
                    <a:lnTo>
                      <a:pt x="822" y="246"/>
                    </a:lnTo>
                    <a:lnTo>
                      <a:pt x="822" y="290"/>
                    </a:lnTo>
                    <a:close/>
                    <a:moveTo>
                      <a:pt x="725" y="290"/>
                    </a:moveTo>
                    <a:lnTo>
                      <a:pt x="681" y="290"/>
                    </a:lnTo>
                    <a:lnTo>
                      <a:pt x="681" y="246"/>
                    </a:lnTo>
                    <a:lnTo>
                      <a:pt x="725" y="246"/>
                    </a:lnTo>
                    <a:lnTo>
                      <a:pt x="725" y="290"/>
                    </a:lnTo>
                    <a:close/>
                    <a:moveTo>
                      <a:pt x="676" y="290"/>
                    </a:moveTo>
                    <a:lnTo>
                      <a:pt x="632" y="290"/>
                    </a:lnTo>
                    <a:lnTo>
                      <a:pt x="632" y="246"/>
                    </a:lnTo>
                    <a:lnTo>
                      <a:pt x="676" y="246"/>
                    </a:lnTo>
                    <a:lnTo>
                      <a:pt x="676" y="290"/>
                    </a:lnTo>
                    <a:close/>
                    <a:moveTo>
                      <a:pt x="628" y="290"/>
                    </a:moveTo>
                    <a:lnTo>
                      <a:pt x="584" y="290"/>
                    </a:lnTo>
                    <a:lnTo>
                      <a:pt x="584" y="246"/>
                    </a:lnTo>
                    <a:lnTo>
                      <a:pt x="628" y="246"/>
                    </a:lnTo>
                    <a:lnTo>
                      <a:pt x="628" y="290"/>
                    </a:lnTo>
                    <a:close/>
                    <a:moveTo>
                      <a:pt x="579" y="290"/>
                    </a:moveTo>
                    <a:lnTo>
                      <a:pt x="535" y="290"/>
                    </a:lnTo>
                    <a:lnTo>
                      <a:pt x="535" y="246"/>
                    </a:lnTo>
                    <a:lnTo>
                      <a:pt x="579" y="246"/>
                    </a:lnTo>
                    <a:lnTo>
                      <a:pt x="579" y="290"/>
                    </a:lnTo>
                    <a:close/>
                    <a:moveTo>
                      <a:pt x="531" y="290"/>
                    </a:moveTo>
                    <a:lnTo>
                      <a:pt x="487" y="290"/>
                    </a:lnTo>
                    <a:lnTo>
                      <a:pt x="487" y="246"/>
                    </a:lnTo>
                    <a:lnTo>
                      <a:pt x="531" y="246"/>
                    </a:lnTo>
                    <a:lnTo>
                      <a:pt x="531" y="290"/>
                    </a:lnTo>
                    <a:close/>
                    <a:moveTo>
                      <a:pt x="482" y="290"/>
                    </a:moveTo>
                    <a:lnTo>
                      <a:pt x="438" y="290"/>
                    </a:lnTo>
                    <a:lnTo>
                      <a:pt x="438" y="246"/>
                    </a:lnTo>
                    <a:lnTo>
                      <a:pt x="482" y="246"/>
                    </a:lnTo>
                    <a:lnTo>
                      <a:pt x="482" y="290"/>
                    </a:lnTo>
                    <a:close/>
                    <a:moveTo>
                      <a:pt x="434" y="290"/>
                    </a:moveTo>
                    <a:lnTo>
                      <a:pt x="390" y="290"/>
                    </a:lnTo>
                    <a:lnTo>
                      <a:pt x="390" y="246"/>
                    </a:lnTo>
                    <a:lnTo>
                      <a:pt x="434" y="246"/>
                    </a:lnTo>
                    <a:lnTo>
                      <a:pt x="434" y="290"/>
                    </a:lnTo>
                    <a:close/>
                    <a:moveTo>
                      <a:pt x="385" y="290"/>
                    </a:moveTo>
                    <a:lnTo>
                      <a:pt x="341" y="290"/>
                    </a:lnTo>
                    <a:lnTo>
                      <a:pt x="341" y="246"/>
                    </a:lnTo>
                    <a:lnTo>
                      <a:pt x="385" y="246"/>
                    </a:lnTo>
                    <a:lnTo>
                      <a:pt x="385" y="290"/>
                    </a:lnTo>
                    <a:close/>
                    <a:moveTo>
                      <a:pt x="337" y="290"/>
                    </a:moveTo>
                    <a:lnTo>
                      <a:pt x="293" y="290"/>
                    </a:lnTo>
                    <a:lnTo>
                      <a:pt x="293" y="246"/>
                    </a:lnTo>
                    <a:lnTo>
                      <a:pt x="337" y="246"/>
                    </a:lnTo>
                    <a:lnTo>
                      <a:pt x="337" y="290"/>
                    </a:lnTo>
                    <a:close/>
                    <a:moveTo>
                      <a:pt x="288" y="290"/>
                    </a:moveTo>
                    <a:lnTo>
                      <a:pt x="246" y="290"/>
                    </a:lnTo>
                    <a:lnTo>
                      <a:pt x="246" y="246"/>
                    </a:lnTo>
                    <a:lnTo>
                      <a:pt x="288" y="246"/>
                    </a:lnTo>
                    <a:lnTo>
                      <a:pt x="288" y="290"/>
                    </a:lnTo>
                    <a:close/>
                    <a:moveTo>
                      <a:pt x="288" y="294"/>
                    </a:moveTo>
                    <a:lnTo>
                      <a:pt x="288" y="338"/>
                    </a:lnTo>
                    <a:lnTo>
                      <a:pt x="246" y="338"/>
                    </a:lnTo>
                    <a:lnTo>
                      <a:pt x="246" y="294"/>
                    </a:lnTo>
                    <a:lnTo>
                      <a:pt x="288" y="294"/>
                    </a:lnTo>
                    <a:close/>
                    <a:moveTo>
                      <a:pt x="288" y="343"/>
                    </a:moveTo>
                    <a:lnTo>
                      <a:pt x="288" y="387"/>
                    </a:lnTo>
                    <a:lnTo>
                      <a:pt x="246" y="387"/>
                    </a:lnTo>
                    <a:lnTo>
                      <a:pt x="246" y="343"/>
                    </a:lnTo>
                    <a:lnTo>
                      <a:pt x="288" y="343"/>
                    </a:lnTo>
                    <a:close/>
                    <a:moveTo>
                      <a:pt x="288" y="391"/>
                    </a:moveTo>
                    <a:lnTo>
                      <a:pt x="288" y="435"/>
                    </a:lnTo>
                    <a:lnTo>
                      <a:pt x="246" y="435"/>
                    </a:lnTo>
                    <a:lnTo>
                      <a:pt x="246" y="391"/>
                    </a:lnTo>
                    <a:lnTo>
                      <a:pt x="288" y="391"/>
                    </a:lnTo>
                    <a:close/>
                    <a:moveTo>
                      <a:pt x="288" y="440"/>
                    </a:moveTo>
                    <a:lnTo>
                      <a:pt x="288" y="531"/>
                    </a:lnTo>
                    <a:lnTo>
                      <a:pt x="246" y="531"/>
                    </a:lnTo>
                    <a:lnTo>
                      <a:pt x="246" y="440"/>
                    </a:lnTo>
                    <a:lnTo>
                      <a:pt x="288" y="440"/>
                    </a:lnTo>
                    <a:close/>
                    <a:moveTo>
                      <a:pt x="288" y="537"/>
                    </a:moveTo>
                    <a:lnTo>
                      <a:pt x="288" y="580"/>
                    </a:lnTo>
                    <a:lnTo>
                      <a:pt x="246" y="580"/>
                    </a:lnTo>
                    <a:lnTo>
                      <a:pt x="246" y="537"/>
                    </a:lnTo>
                    <a:lnTo>
                      <a:pt x="288" y="537"/>
                    </a:lnTo>
                    <a:close/>
                    <a:moveTo>
                      <a:pt x="288" y="586"/>
                    </a:moveTo>
                    <a:lnTo>
                      <a:pt x="288" y="628"/>
                    </a:lnTo>
                    <a:lnTo>
                      <a:pt x="246" y="628"/>
                    </a:lnTo>
                    <a:lnTo>
                      <a:pt x="246" y="586"/>
                    </a:lnTo>
                    <a:lnTo>
                      <a:pt x="288" y="586"/>
                    </a:lnTo>
                    <a:close/>
                    <a:moveTo>
                      <a:pt x="288" y="634"/>
                    </a:moveTo>
                    <a:lnTo>
                      <a:pt x="288" y="677"/>
                    </a:lnTo>
                    <a:lnTo>
                      <a:pt x="246" y="677"/>
                    </a:lnTo>
                    <a:lnTo>
                      <a:pt x="246" y="634"/>
                    </a:lnTo>
                    <a:lnTo>
                      <a:pt x="288" y="634"/>
                    </a:lnTo>
                    <a:close/>
                    <a:moveTo>
                      <a:pt x="288" y="683"/>
                    </a:moveTo>
                    <a:lnTo>
                      <a:pt x="288" y="725"/>
                    </a:lnTo>
                    <a:lnTo>
                      <a:pt x="246" y="725"/>
                    </a:lnTo>
                    <a:lnTo>
                      <a:pt x="246" y="683"/>
                    </a:lnTo>
                    <a:lnTo>
                      <a:pt x="288" y="683"/>
                    </a:lnTo>
                    <a:close/>
                    <a:moveTo>
                      <a:pt x="293" y="683"/>
                    </a:moveTo>
                    <a:lnTo>
                      <a:pt x="337" y="683"/>
                    </a:lnTo>
                    <a:lnTo>
                      <a:pt x="337" y="725"/>
                    </a:lnTo>
                    <a:lnTo>
                      <a:pt x="293" y="725"/>
                    </a:lnTo>
                    <a:lnTo>
                      <a:pt x="293" y="683"/>
                    </a:lnTo>
                    <a:close/>
                    <a:moveTo>
                      <a:pt x="341" y="683"/>
                    </a:moveTo>
                    <a:lnTo>
                      <a:pt x="385" y="683"/>
                    </a:lnTo>
                    <a:lnTo>
                      <a:pt x="385" y="725"/>
                    </a:lnTo>
                    <a:lnTo>
                      <a:pt x="341" y="725"/>
                    </a:lnTo>
                    <a:lnTo>
                      <a:pt x="341" y="683"/>
                    </a:lnTo>
                    <a:close/>
                    <a:moveTo>
                      <a:pt x="390" y="683"/>
                    </a:moveTo>
                    <a:lnTo>
                      <a:pt x="434" y="683"/>
                    </a:lnTo>
                    <a:lnTo>
                      <a:pt x="434" y="725"/>
                    </a:lnTo>
                    <a:lnTo>
                      <a:pt x="390" y="725"/>
                    </a:lnTo>
                    <a:lnTo>
                      <a:pt x="390" y="683"/>
                    </a:lnTo>
                    <a:close/>
                    <a:moveTo>
                      <a:pt x="438" y="683"/>
                    </a:moveTo>
                    <a:lnTo>
                      <a:pt x="482" y="683"/>
                    </a:lnTo>
                    <a:lnTo>
                      <a:pt x="482" y="725"/>
                    </a:lnTo>
                    <a:lnTo>
                      <a:pt x="438" y="725"/>
                    </a:lnTo>
                    <a:lnTo>
                      <a:pt x="438" y="683"/>
                    </a:lnTo>
                    <a:close/>
                    <a:moveTo>
                      <a:pt x="487" y="683"/>
                    </a:moveTo>
                    <a:lnTo>
                      <a:pt x="531" y="683"/>
                    </a:lnTo>
                    <a:lnTo>
                      <a:pt x="531" y="725"/>
                    </a:lnTo>
                    <a:lnTo>
                      <a:pt x="487" y="725"/>
                    </a:lnTo>
                    <a:lnTo>
                      <a:pt x="487" y="683"/>
                    </a:lnTo>
                    <a:close/>
                    <a:moveTo>
                      <a:pt x="535" y="683"/>
                    </a:moveTo>
                    <a:lnTo>
                      <a:pt x="579" y="683"/>
                    </a:lnTo>
                    <a:lnTo>
                      <a:pt x="579" y="725"/>
                    </a:lnTo>
                    <a:lnTo>
                      <a:pt x="535" y="725"/>
                    </a:lnTo>
                    <a:lnTo>
                      <a:pt x="535" y="683"/>
                    </a:lnTo>
                    <a:close/>
                    <a:moveTo>
                      <a:pt x="584" y="683"/>
                    </a:moveTo>
                    <a:lnTo>
                      <a:pt x="628" y="683"/>
                    </a:lnTo>
                    <a:lnTo>
                      <a:pt x="628" y="725"/>
                    </a:lnTo>
                    <a:lnTo>
                      <a:pt x="584" y="725"/>
                    </a:lnTo>
                    <a:lnTo>
                      <a:pt x="584" y="683"/>
                    </a:lnTo>
                    <a:close/>
                    <a:moveTo>
                      <a:pt x="632" y="683"/>
                    </a:moveTo>
                    <a:lnTo>
                      <a:pt x="676" y="683"/>
                    </a:lnTo>
                    <a:lnTo>
                      <a:pt x="676" y="725"/>
                    </a:lnTo>
                    <a:lnTo>
                      <a:pt x="632" y="725"/>
                    </a:lnTo>
                    <a:lnTo>
                      <a:pt x="632" y="683"/>
                    </a:lnTo>
                    <a:close/>
                    <a:moveTo>
                      <a:pt x="681" y="683"/>
                    </a:moveTo>
                    <a:lnTo>
                      <a:pt x="725" y="683"/>
                    </a:lnTo>
                    <a:lnTo>
                      <a:pt x="725" y="725"/>
                    </a:lnTo>
                    <a:lnTo>
                      <a:pt x="681" y="725"/>
                    </a:lnTo>
                    <a:lnTo>
                      <a:pt x="681" y="683"/>
                    </a:lnTo>
                    <a:close/>
                    <a:moveTo>
                      <a:pt x="729" y="683"/>
                    </a:moveTo>
                    <a:lnTo>
                      <a:pt x="822" y="683"/>
                    </a:lnTo>
                    <a:lnTo>
                      <a:pt x="822" y="725"/>
                    </a:lnTo>
                    <a:lnTo>
                      <a:pt x="729" y="725"/>
                    </a:lnTo>
                    <a:lnTo>
                      <a:pt x="729" y="683"/>
                    </a:lnTo>
                    <a:close/>
                    <a:moveTo>
                      <a:pt x="826" y="683"/>
                    </a:moveTo>
                    <a:lnTo>
                      <a:pt x="870" y="683"/>
                    </a:lnTo>
                    <a:lnTo>
                      <a:pt x="870" y="725"/>
                    </a:lnTo>
                    <a:lnTo>
                      <a:pt x="826" y="725"/>
                    </a:lnTo>
                    <a:lnTo>
                      <a:pt x="826" y="683"/>
                    </a:lnTo>
                    <a:close/>
                    <a:moveTo>
                      <a:pt x="875" y="683"/>
                    </a:moveTo>
                    <a:lnTo>
                      <a:pt x="919" y="683"/>
                    </a:lnTo>
                    <a:lnTo>
                      <a:pt x="919" y="725"/>
                    </a:lnTo>
                    <a:lnTo>
                      <a:pt x="875" y="725"/>
                    </a:lnTo>
                    <a:lnTo>
                      <a:pt x="875" y="683"/>
                    </a:lnTo>
                    <a:close/>
                    <a:moveTo>
                      <a:pt x="924" y="683"/>
                    </a:moveTo>
                    <a:lnTo>
                      <a:pt x="967" y="683"/>
                    </a:lnTo>
                    <a:lnTo>
                      <a:pt x="967" y="725"/>
                    </a:lnTo>
                    <a:lnTo>
                      <a:pt x="924" y="725"/>
                    </a:lnTo>
                    <a:lnTo>
                      <a:pt x="924" y="683"/>
                    </a:lnTo>
                    <a:close/>
                    <a:moveTo>
                      <a:pt x="972" y="683"/>
                    </a:moveTo>
                    <a:lnTo>
                      <a:pt x="1016" y="683"/>
                    </a:lnTo>
                    <a:lnTo>
                      <a:pt x="1016" y="725"/>
                    </a:lnTo>
                    <a:lnTo>
                      <a:pt x="972" y="725"/>
                    </a:lnTo>
                    <a:lnTo>
                      <a:pt x="972" y="683"/>
                    </a:lnTo>
                    <a:close/>
                    <a:moveTo>
                      <a:pt x="1021" y="683"/>
                    </a:moveTo>
                    <a:lnTo>
                      <a:pt x="1065" y="683"/>
                    </a:lnTo>
                    <a:lnTo>
                      <a:pt x="1065" y="725"/>
                    </a:lnTo>
                    <a:lnTo>
                      <a:pt x="1021" y="725"/>
                    </a:lnTo>
                    <a:lnTo>
                      <a:pt x="1021" y="683"/>
                    </a:lnTo>
                    <a:close/>
                    <a:moveTo>
                      <a:pt x="1069" y="683"/>
                    </a:moveTo>
                    <a:lnTo>
                      <a:pt x="1113" y="683"/>
                    </a:lnTo>
                    <a:lnTo>
                      <a:pt x="1113" y="725"/>
                    </a:lnTo>
                    <a:lnTo>
                      <a:pt x="1069" y="725"/>
                    </a:lnTo>
                    <a:lnTo>
                      <a:pt x="1069" y="683"/>
                    </a:lnTo>
                    <a:close/>
                    <a:moveTo>
                      <a:pt x="1118" y="683"/>
                    </a:moveTo>
                    <a:lnTo>
                      <a:pt x="1162" y="683"/>
                    </a:lnTo>
                    <a:lnTo>
                      <a:pt x="1162" y="725"/>
                    </a:lnTo>
                    <a:lnTo>
                      <a:pt x="1118" y="725"/>
                    </a:lnTo>
                    <a:lnTo>
                      <a:pt x="1118" y="683"/>
                    </a:lnTo>
                    <a:close/>
                    <a:moveTo>
                      <a:pt x="1166" y="683"/>
                    </a:moveTo>
                    <a:lnTo>
                      <a:pt x="1210" y="683"/>
                    </a:lnTo>
                    <a:lnTo>
                      <a:pt x="1210" y="725"/>
                    </a:lnTo>
                    <a:lnTo>
                      <a:pt x="1166" y="725"/>
                    </a:lnTo>
                    <a:lnTo>
                      <a:pt x="1166" y="683"/>
                    </a:lnTo>
                    <a:close/>
                    <a:moveTo>
                      <a:pt x="1215" y="683"/>
                    </a:moveTo>
                    <a:lnTo>
                      <a:pt x="1259" y="683"/>
                    </a:lnTo>
                    <a:lnTo>
                      <a:pt x="1259" y="725"/>
                    </a:lnTo>
                    <a:lnTo>
                      <a:pt x="1215" y="725"/>
                    </a:lnTo>
                    <a:lnTo>
                      <a:pt x="1215" y="683"/>
                    </a:lnTo>
                    <a:close/>
                    <a:moveTo>
                      <a:pt x="1263" y="683"/>
                    </a:moveTo>
                    <a:lnTo>
                      <a:pt x="1307" y="683"/>
                    </a:lnTo>
                    <a:lnTo>
                      <a:pt x="1307" y="725"/>
                    </a:lnTo>
                    <a:lnTo>
                      <a:pt x="1263" y="725"/>
                    </a:lnTo>
                    <a:lnTo>
                      <a:pt x="1263" y="683"/>
                    </a:lnTo>
                    <a:close/>
                    <a:moveTo>
                      <a:pt x="1263" y="677"/>
                    </a:moveTo>
                    <a:lnTo>
                      <a:pt x="1263" y="634"/>
                    </a:lnTo>
                    <a:lnTo>
                      <a:pt x="1307" y="634"/>
                    </a:lnTo>
                    <a:lnTo>
                      <a:pt x="1307" y="677"/>
                    </a:lnTo>
                    <a:lnTo>
                      <a:pt x="1263" y="677"/>
                    </a:lnTo>
                    <a:close/>
                    <a:moveTo>
                      <a:pt x="1263" y="628"/>
                    </a:moveTo>
                    <a:lnTo>
                      <a:pt x="1263" y="586"/>
                    </a:lnTo>
                    <a:lnTo>
                      <a:pt x="1307" y="586"/>
                    </a:lnTo>
                    <a:lnTo>
                      <a:pt x="1307" y="628"/>
                    </a:lnTo>
                    <a:lnTo>
                      <a:pt x="1263" y="628"/>
                    </a:lnTo>
                    <a:close/>
                    <a:moveTo>
                      <a:pt x="1263" y="580"/>
                    </a:moveTo>
                    <a:lnTo>
                      <a:pt x="1263" y="537"/>
                    </a:lnTo>
                    <a:lnTo>
                      <a:pt x="1307" y="537"/>
                    </a:lnTo>
                    <a:lnTo>
                      <a:pt x="1307" y="580"/>
                    </a:lnTo>
                    <a:lnTo>
                      <a:pt x="1263" y="580"/>
                    </a:lnTo>
                    <a:close/>
                    <a:moveTo>
                      <a:pt x="1263" y="531"/>
                    </a:moveTo>
                    <a:lnTo>
                      <a:pt x="1263" y="440"/>
                    </a:lnTo>
                    <a:lnTo>
                      <a:pt x="1307" y="440"/>
                    </a:lnTo>
                    <a:lnTo>
                      <a:pt x="1307" y="531"/>
                    </a:lnTo>
                    <a:lnTo>
                      <a:pt x="1263" y="531"/>
                    </a:lnTo>
                    <a:close/>
                    <a:moveTo>
                      <a:pt x="1263" y="435"/>
                    </a:moveTo>
                    <a:lnTo>
                      <a:pt x="1263" y="391"/>
                    </a:lnTo>
                    <a:lnTo>
                      <a:pt x="1307" y="391"/>
                    </a:lnTo>
                    <a:lnTo>
                      <a:pt x="1307" y="435"/>
                    </a:lnTo>
                    <a:lnTo>
                      <a:pt x="1263" y="435"/>
                    </a:lnTo>
                    <a:close/>
                    <a:moveTo>
                      <a:pt x="1263" y="387"/>
                    </a:moveTo>
                    <a:lnTo>
                      <a:pt x="1263" y="343"/>
                    </a:lnTo>
                    <a:lnTo>
                      <a:pt x="1307" y="343"/>
                    </a:lnTo>
                    <a:lnTo>
                      <a:pt x="1307" y="387"/>
                    </a:lnTo>
                    <a:lnTo>
                      <a:pt x="1263" y="387"/>
                    </a:lnTo>
                    <a:close/>
                    <a:moveTo>
                      <a:pt x="1263" y="338"/>
                    </a:moveTo>
                    <a:lnTo>
                      <a:pt x="1263" y="294"/>
                    </a:lnTo>
                    <a:lnTo>
                      <a:pt x="1307" y="294"/>
                    </a:lnTo>
                    <a:lnTo>
                      <a:pt x="1307" y="338"/>
                    </a:lnTo>
                    <a:lnTo>
                      <a:pt x="1263" y="338"/>
                    </a:lnTo>
                    <a:close/>
                    <a:moveTo>
                      <a:pt x="1263" y="290"/>
                    </a:moveTo>
                    <a:lnTo>
                      <a:pt x="1263" y="246"/>
                    </a:lnTo>
                    <a:lnTo>
                      <a:pt x="1307" y="246"/>
                    </a:lnTo>
                    <a:lnTo>
                      <a:pt x="1307" y="290"/>
                    </a:lnTo>
                    <a:lnTo>
                      <a:pt x="1263" y="290"/>
                    </a:lnTo>
                    <a:close/>
                    <a:moveTo>
                      <a:pt x="1263" y="241"/>
                    </a:moveTo>
                    <a:lnTo>
                      <a:pt x="1263" y="197"/>
                    </a:lnTo>
                    <a:lnTo>
                      <a:pt x="1307" y="197"/>
                    </a:lnTo>
                    <a:lnTo>
                      <a:pt x="1307" y="241"/>
                    </a:lnTo>
                    <a:lnTo>
                      <a:pt x="1263" y="241"/>
                    </a:lnTo>
                    <a:close/>
                    <a:moveTo>
                      <a:pt x="1259" y="241"/>
                    </a:moveTo>
                    <a:lnTo>
                      <a:pt x="1215" y="241"/>
                    </a:lnTo>
                    <a:lnTo>
                      <a:pt x="1215" y="197"/>
                    </a:lnTo>
                    <a:lnTo>
                      <a:pt x="1259" y="197"/>
                    </a:lnTo>
                    <a:lnTo>
                      <a:pt x="1259" y="241"/>
                    </a:lnTo>
                    <a:close/>
                    <a:moveTo>
                      <a:pt x="1210" y="241"/>
                    </a:moveTo>
                    <a:lnTo>
                      <a:pt x="1166" y="241"/>
                    </a:lnTo>
                    <a:lnTo>
                      <a:pt x="1166" y="197"/>
                    </a:lnTo>
                    <a:lnTo>
                      <a:pt x="1210" y="197"/>
                    </a:lnTo>
                    <a:lnTo>
                      <a:pt x="1210" y="241"/>
                    </a:lnTo>
                    <a:close/>
                    <a:moveTo>
                      <a:pt x="1162" y="241"/>
                    </a:moveTo>
                    <a:lnTo>
                      <a:pt x="1118" y="241"/>
                    </a:lnTo>
                    <a:lnTo>
                      <a:pt x="1118" y="197"/>
                    </a:lnTo>
                    <a:lnTo>
                      <a:pt x="1162" y="197"/>
                    </a:lnTo>
                    <a:lnTo>
                      <a:pt x="1162" y="241"/>
                    </a:lnTo>
                    <a:close/>
                    <a:moveTo>
                      <a:pt x="1113" y="241"/>
                    </a:moveTo>
                    <a:lnTo>
                      <a:pt x="1069" y="241"/>
                    </a:lnTo>
                    <a:lnTo>
                      <a:pt x="1069" y="197"/>
                    </a:lnTo>
                    <a:lnTo>
                      <a:pt x="1113" y="197"/>
                    </a:lnTo>
                    <a:lnTo>
                      <a:pt x="1113" y="241"/>
                    </a:lnTo>
                    <a:close/>
                    <a:moveTo>
                      <a:pt x="1065" y="241"/>
                    </a:moveTo>
                    <a:lnTo>
                      <a:pt x="1021" y="241"/>
                    </a:lnTo>
                    <a:lnTo>
                      <a:pt x="1021" y="197"/>
                    </a:lnTo>
                    <a:lnTo>
                      <a:pt x="1065" y="197"/>
                    </a:lnTo>
                    <a:lnTo>
                      <a:pt x="1065" y="241"/>
                    </a:lnTo>
                    <a:close/>
                    <a:moveTo>
                      <a:pt x="1016" y="241"/>
                    </a:moveTo>
                    <a:lnTo>
                      <a:pt x="972" y="241"/>
                    </a:lnTo>
                    <a:lnTo>
                      <a:pt x="972" y="197"/>
                    </a:lnTo>
                    <a:lnTo>
                      <a:pt x="1016" y="197"/>
                    </a:lnTo>
                    <a:lnTo>
                      <a:pt x="1016" y="241"/>
                    </a:lnTo>
                    <a:close/>
                    <a:moveTo>
                      <a:pt x="967" y="241"/>
                    </a:moveTo>
                    <a:lnTo>
                      <a:pt x="924" y="241"/>
                    </a:lnTo>
                    <a:lnTo>
                      <a:pt x="924" y="197"/>
                    </a:lnTo>
                    <a:lnTo>
                      <a:pt x="967" y="197"/>
                    </a:lnTo>
                    <a:lnTo>
                      <a:pt x="967" y="241"/>
                    </a:lnTo>
                    <a:close/>
                    <a:moveTo>
                      <a:pt x="919" y="241"/>
                    </a:moveTo>
                    <a:lnTo>
                      <a:pt x="875" y="241"/>
                    </a:lnTo>
                    <a:lnTo>
                      <a:pt x="875" y="197"/>
                    </a:lnTo>
                    <a:lnTo>
                      <a:pt x="919" y="197"/>
                    </a:lnTo>
                    <a:lnTo>
                      <a:pt x="919" y="241"/>
                    </a:lnTo>
                    <a:close/>
                    <a:moveTo>
                      <a:pt x="870" y="241"/>
                    </a:moveTo>
                    <a:lnTo>
                      <a:pt x="826" y="241"/>
                    </a:lnTo>
                    <a:lnTo>
                      <a:pt x="826" y="197"/>
                    </a:lnTo>
                    <a:lnTo>
                      <a:pt x="870" y="197"/>
                    </a:lnTo>
                    <a:lnTo>
                      <a:pt x="870" y="241"/>
                    </a:lnTo>
                    <a:close/>
                    <a:moveTo>
                      <a:pt x="822" y="241"/>
                    </a:moveTo>
                    <a:lnTo>
                      <a:pt x="729" y="241"/>
                    </a:lnTo>
                    <a:lnTo>
                      <a:pt x="729" y="197"/>
                    </a:lnTo>
                    <a:lnTo>
                      <a:pt x="822" y="197"/>
                    </a:lnTo>
                    <a:lnTo>
                      <a:pt x="822" y="241"/>
                    </a:lnTo>
                    <a:close/>
                    <a:moveTo>
                      <a:pt x="725" y="241"/>
                    </a:moveTo>
                    <a:lnTo>
                      <a:pt x="681" y="241"/>
                    </a:lnTo>
                    <a:lnTo>
                      <a:pt x="681" y="197"/>
                    </a:lnTo>
                    <a:lnTo>
                      <a:pt x="725" y="197"/>
                    </a:lnTo>
                    <a:lnTo>
                      <a:pt x="725" y="241"/>
                    </a:lnTo>
                    <a:close/>
                    <a:moveTo>
                      <a:pt x="676" y="241"/>
                    </a:moveTo>
                    <a:lnTo>
                      <a:pt x="632" y="241"/>
                    </a:lnTo>
                    <a:lnTo>
                      <a:pt x="632" y="197"/>
                    </a:lnTo>
                    <a:lnTo>
                      <a:pt x="676" y="197"/>
                    </a:lnTo>
                    <a:lnTo>
                      <a:pt x="676" y="241"/>
                    </a:lnTo>
                    <a:close/>
                    <a:moveTo>
                      <a:pt x="628" y="241"/>
                    </a:moveTo>
                    <a:lnTo>
                      <a:pt x="584" y="241"/>
                    </a:lnTo>
                    <a:lnTo>
                      <a:pt x="584" y="197"/>
                    </a:lnTo>
                    <a:lnTo>
                      <a:pt x="628" y="197"/>
                    </a:lnTo>
                    <a:lnTo>
                      <a:pt x="628" y="241"/>
                    </a:lnTo>
                    <a:close/>
                    <a:moveTo>
                      <a:pt x="579" y="241"/>
                    </a:moveTo>
                    <a:lnTo>
                      <a:pt x="535" y="241"/>
                    </a:lnTo>
                    <a:lnTo>
                      <a:pt x="535" y="197"/>
                    </a:lnTo>
                    <a:lnTo>
                      <a:pt x="579" y="197"/>
                    </a:lnTo>
                    <a:lnTo>
                      <a:pt x="579" y="241"/>
                    </a:lnTo>
                    <a:close/>
                    <a:moveTo>
                      <a:pt x="531" y="241"/>
                    </a:moveTo>
                    <a:lnTo>
                      <a:pt x="487" y="241"/>
                    </a:lnTo>
                    <a:lnTo>
                      <a:pt x="487" y="197"/>
                    </a:lnTo>
                    <a:lnTo>
                      <a:pt x="531" y="197"/>
                    </a:lnTo>
                    <a:lnTo>
                      <a:pt x="531" y="241"/>
                    </a:lnTo>
                    <a:close/>
                    <a:moveTo>
                      <a:pt x="482" y="241"/>
                    </a:moveTo>
                    <a:lnTo>
                      <a:pt x="438" y="241"/>
                    </a:lnTo>
                    <a:lnTo>
                      <a:pt x="438" y="197"/>
                    </a:lnTo>
                    <a:lnTo>
                      <a:pt x="482" y="197"/>
                    </a:lnTo>
                    <a:lnTo>
                      <a:pt x="482" y="241"/>
                    </a:lnTo>
                    <a:close/>
                    <a:moveTo>
                      <a:pt x="434" y="241"/>
                    </a:moveTo>
                    <a:lnTo>
                      <a:pt x="390" y="241"/>
                    </a:lnTo>
                    <a:lnTo>
                      <a:pt x="390" y="197"/>
                    </a:lnTo>
                    <a:lnTo>
                      <a:pt x="434" y="197"/>
                    </a:lnTo>
                    <a:lnTo>
                      <a:pt x="434" y="241"/>
                    </a:lnTo>
                    <a:close/>
                    <a:moveTo>
                      <a:pt x="385" y="241"/>
                    </a:moveTo>
                    <a:lnTo>
                      <a:pt x="341" y="241"/>
                    </a:lnTo>
                    <a:lnTo>
                      <a:pt x="341" y="197"/>
                    </a:lnTo>
                    <a:lnTo>
                      <a:pt x="385" y="197"/>
                    </a:lnTo>
                    <a:lnTo>
                      <a:pt x="385" y="241"/>
                    </a:lnTo>
                    <a:close/>
                    <a:moveTo>
                      <a:pt x="337" y="241"/>
                    </a:moveTo>
                    <a:lnTo>
                      <a:pt x="293" y="241"/>
                    </a:lnTo>
                    <a:lnTo>
                      <a:pt x="293" y="197"/>
                    </a:lnTo>
                    <a:lnTo>
                      <a:pt x="337" y="197"/>
                    </a:lnTo>
                    <a:lnTo>
                      <a:pt x="337" y="241"/>
                    </a:lnTo>
                    <a:close/>
                    <a:moveTo>
                      <a:pt x="288" y="241"/>
                    </a:moveTo>
                    <a:lnTo>
                      <a:pt x="246" y="241"/>
                    </a:lnTo>
                    <a:lnTo>
                      <a:pt x="246" y="197"/>
                    </a:lnTo>
                    <a:lnTo>
                      <a:pt x="288" y="197"/>
                    </a:lnTo>
                    <a:lnTo>
                      <a:pt x="288" y="241"/>
                    </a:lnTo>
                    <a:close/>
                    <a:moveTo>
                      <a:pt x="240" y="241"/>
                    </a:moveTo>
                    <a:lnTo>
                      <a:pt x="197" y="241"/>
                    </a:lnTo>
                    <a:lnTo>
                      <a:pt x="197" y="197"/>
                    </a:lnTo>
                    <a:lnTo>
                      <a:pt x="240" y="197"/>
                    </a:lnTo>
                    <a:lnTo>
                      <a:pt x="240" y="241"/>
                    </a:lnTo>
                    <a:close/>
                    <a:moveTo>
                      <a:pt x="240" y="246"/>
                    </a:moveTo>
                    <a:lnTo>
                      <a:pt x="240" y="290"/>
                    </a:lnTo>
                    <a:lnTo>
                      <a:pt x="197" y="290"/>
                    </a:lnTo>
                    <a:lnTo>
                      <a:pt x="197" y="246"/>
                    </a:lnTo>
                    <a:lnTo>
                      <a:pt x="240" y="246"/>
                    </a:lnTo>
                    <a:close/>
                    <a:moveTo>
                      <a:pt x="240" y="294"/>
                    </a:moveTo>
                    <a:lnTo>
                      <a:pt x="240" y="338"/>
                    </a:lnTo>
                    <a:lnTo>
                      <a:pt x="197" y="338"/>
                    </a:lnTo>
                    <a:lnTo>
                      <a:pt x="197" y="294"/>
                    </a:lnTo>
                    <a:lnTo>
                      <a:pt x="240" y="294"/>
                    </a:lnTo>
                    <a:close/>
                    <a:moveTo>
                      <a:pt x="240" y="343"/>
                    </a:moveTo>
                    <a:lnTo>
                      <a:pt x="240" y="387"/>
                    </a:lnTo>
                    <a:lnTo>
                      <a:pt x="197" y="387"/>
                    </a:lnTo>
                    <a:lnTo>
                      <a:pt x="197" y="343"/>
                    </a:lnTo>
                    <a:lnTo>
                      <a:pt x="240" y="343"/>
                    </a:lnTo>
                    <a:close/>
                    <a:moveTo>
                      <a:pt x="240" y="391"/>
                    </a:moveTo>
                    <a:lnTo>
                      <a:pt x="240" y="435"/>
                    </a:lnTo>
                    <a:lnTo>
                      <a:pt x="197" y="435"/>
                    </a:lnTo>
                    <a:lnTo>
                      <a:pt x="197" y="391"/>
                    </a:lnTo>
                    <a:lnTo>
                      <a:pt x="240" y="391"/>
                    </a:lnTo>
                    <a:close/>
                    <a:moveTo>
                      <a:pt x="240" y="440"/>
                    </a:moveTo>
                    <a:lnTo>
                      <a:pt x="240" y="531"/>
                    </a:lnTo>
                    <a:lnTo>
                      <a:pt x="197" y="531"/>
                    </a:lnTo>
                    <a:lnTo>
                      <a:pt x="197" y="440"/>
                    </a:lnTo>
                    <a:lnTo>
                      <a:pt x="240" y="440"/>
                    </a:lnTo>
                    <a:close/>
                    <a:moveTo>
                      <a:pt x="240" y="537"/>
                    </a:moveTo>
                    <a:lnTo>
                      <a:pt x="240" y="580"/>
                    </a:lnTo>
                    <a:lnTo>
                      <a:pt x="197" y="580"/>
                    </a:lnTo>
                    <a:lnTo>
                      <a:pt x="197" y="537"/>
                    </a:lnTo>
                    <a:lnTo>
                      <a:pt x="240" y="537"/>
                    </a:lnTo>
                    <a:close/>
                    <a:moveTo>
                      <a:pt x="240" y="586"/>
                    </a:moveTo>
                    <a:lnTo>
                      <a:pt x="240" y="628"/>
                    </a:lnTo>
                    <a:lnTo>
                      <a:pt x="197" y="628"/>
                    </a:lnTo>
                    <a:lnTo>
                      <a:pt x="197" y="586"/>
                    </a:lnTo>
                    <a:lnTo>
                      <a:pt x="240" y="586"/>
                    </a:lnTo>
                    <a:close/>
                    <a:moveTo>
                      <a:pt x="240" y="634"/>
                    </a:moveTo>
                    <a:lnTo>
                      <a:pt x="240" y="677"/>
                    </a:lnTo>
                    <a:lnTo>
                      <a:pt x="197" y="677"/>
                    </a:lnTo>
                    <a:lnTo>
                      <a:pt x="197" y="634"/>
                    </a:lnTo>
                    <a:lnTo>
                      <a:pt x="240" y="634"/>
                    </a:lnTo>
                    <a:close/>
                    <a:moveTo>
                      <a:pt x="240" y="683"/>
                    </a:moveTo>
                    <a:lnTo>
                      <a:pt x="240" y="725"/>
                    </a:lnTo>
                    <a:lnTo>
                      <a:pt x="197" y="725"/>
                    </a:lnTo>
                    <a:lnTo>
                      <a:pt x="197" y="683"/>
                    </a:lnTo>
                    <a:lnTo>
                      <a:pt x="240" y="683"/>
                    </a:lnTo>
                    <a:close/>
                    <a:moveTo>
                      <a:pt x="240" y="730"/>
                    </a:moveTo>
                    <a:lnTo>
                      <a:pt x="240" y="774"/>
                    </a:lnTo>
                    <a:lnTo>
                      <a:pt x="197" y="774"/>
                    </a:lnTo>
                    <a:lnTo>
                      <a:pt x="197" y="730"/>
                    </a:lnTo>
                    <a:lnTo>
                      <a:pt x="240" y="730"/>
                    </a:lnTo>
                    <a:close/>
                    <a:moveTo>
                      <a:pt x="246" y="730"/>
                    </a:moveTo>
                    <a:lnTo>
                      <a:pt x="288" y="730"/>
                    </a:lnTo>
                    <a:lnTo>
                      <a:pt x="288" y="774"/>
                    </a:lnTo>
                    <a:lnTo>
                      <a:pt x="246" y="774"/>
                    </a:lnTo>
                    <a:lnTo>
                      <a:pt x="246" y="730"/>
                    </a:lnTo>
                    <a:close/>
                    <a:moveTo>
                      <a:pt x="293" y="730"/>
                    </a:moveTo>
                    <a:lnTo>
                      <a:pt x="337" y="730"/>
                    </a:lnTo>
                    <a:lnTo>
                      <a:pt x="337" y="774"/>
                    </a:lnTo>
                    <a:lnTo>
                      <a:pt x="293" y="774"/>
                    </a:lnTo>
                    <a:lnTo>
                      <a:pt x="293" y="730"/>
                    </a:lnTo>
                    <a:close/>
                    <a:moveTo>
                      <a:pt x="341" y="730"/>
                    </a:moveTo>
                    <a:lnTo>
                      <a:pt x="385" y="730"/>
                    </a:lnTo>
                    <a:lnTo>
                      <a:pt x="385" y="774"/>
                    </a:lnTo>
                    <a:lnTo>
                      <a:pt x="341" y="774"/>
                    </a:lnTo>
                    <a:lnTo>
                      <a:pt x="341" y="730"/>
                    </a:lnTo>
                    <a:close/>
                    <a:moveTo>
                      <a:pt x="390" y="730"/>
                    </a:moveTo>
                    <a:lnTo>
                      <a:pt x="434" y="730"/>
                    </a:lnTo>
                    <a:lnTo>
                      <a:pt x="434" y="774"/>
                    </a:lnTo>
                    <a:lnTo>
                      <a:pt x="390" y="774"/>
                    </a:lnTo>
                    <a:lnTo>
                      <a:pt x="390" y="730"/>
                    </a:lnTo>
                    <a:close/>
                    <a:moveTo>
                      <a:pt x="438" y="730"/>
                    </a:moveTo>
                    <a:lnTo>
                      <a:pt x="482" y="730"/>
                    </a:lnTo>
                    <a:lnTo>
                      <a:pt x="482" y="774"/>
                    </a:lnTo>
                    <a:lnTo>
                      <a:pt x="438" y="774"/>
                    </a:lnTo>
                    <a:lnTo>
                      <a:pt x="438" y="730"/>
                    </a:lnTo>
                    <a:close/>
                    <a:moveTo>
                      <a:pt x="487" y="730"/>
                    </a:moveTo>
                    <a:lnTo>
                      <a:pt x="531" y="730"/>
                    </a:lnTo>
                    <a:lnTo>
                      <a:pt x="531" y="774"/>
                    </a:lnTo>
                    <a:lnTo>
                      <a:pt x="487" y="774"/>
                    </a:lnTo>
                    <a:lnTo>
                      <a:pt x="487" y="730"/>
                    </a:lnTo>
                    <a:close/>
                    <a:moveTo>
                      <a:pt x="535" y="730"/>
                    </a:moveTo>
                    <a:lnTo>
                      <a:pt x="579" y="730"/>
                    </a:lnTo>
                    <a:lnTo>
                      <a:pt x="579" y="774"/>
                    </a:lnTo>
                    <a:lnTo>
                      <a:pt x="535" y="774"/>
                    </a:lnTo>
                    <a:lnTo>
                      <a:pt x="535" y="730"/>
                    </a:lnTo>
                    <a:close/>
                    <a:moveTo>
                      <a:pt x="584" y="730"/>
                    </a:moveTo>
                    <a:lnTo>
                      <a:pt x="628" y="730"/>
                    </a:lnTo>
                    <a:lnTo>
                      <a:pt x="628" y="774"/>
                    </a:lnTo>
                    <a:lnTo>
                      <a:pt x="584" y="774"/>
                    </a:lnTo>
                    <a:lnTo>
                      <a:pt x="584" y="730"/>
                    </a:lnTo>
                    <a:close/>
                    <a:moveTo>
                      <a:pt x="632" y="730"/>
                    </a:moveTo>
                    <a:lnTo>
                      <a:pt x="676" y="730"/>
                    </a:lnTo>
                    <a:lnTo>
                      <a:pt x="676" y="774"/>
                    </a:lnTo>
                    <a:lnTo>
                      <a:pt x="632" y="774"/>
                    </a:lnTo>
                    <a:lnTo>
                      <a:pt x="632" y="730"/>
                    </a:lnTo>
                    <a:close/>
                    <a:moveTo>
                      <a:pt x="681" y="730"/>
                    </a:moveTo>
                    <a:lnTo>
                      <a:pt x="725" y="730"/>
                    </a:lnTo>
                    <a:lnTo>
                      <a:pt x="725" y="774"/>
                    </a:lnTo>
                    <a:lnTo>
                      <a:pt x="681" y="774"/>
                    </a:lnTo>
                    <a:lnTo>
                      <a:pt x="681" y="730"/>
                    </a:lnTo>
                    <a:close/>
                    <a:moveTo>
                      <a:pt x="729" y="730"/>
                    </a:moveTo>
                    <a:lnTo>
                      <a:pt x="822" y="730"/>
                    </a:lnTo>
                    <a:lnTo>
                      <a:pt x="822" y="774"/>
                    </a:lnTo>
                    <a:lnTo>
                      <a:pt x="729" y="774"/>
                    </a:lnTo>
                    <a:lnTo>
                      <a:pt x="729" y="730"/>
                    </a:lnTo>
                    <a:close/>
                    <a:moveTo>
                      <a:pt x="826" y="730"/>
                    </a:moveTo>
                    <a:lnTo>
                      <a:pt x="870" y="730"/>
                    </a:lnTo>
                    <a:lnTo>
                      <a:pt x="870" y="774"/>
                    </a:lnTo>
                    <a:lnTo>
                      <a:pt x="826" y="774"/>
                    </a:lnTo>
                    <a:lnTo>
                      <a:pt x="826" y="730"/>
                    </a:lnTo>
                    <a:close/>
                    <a:moveTo>
                      <a:pt x="875" y="730"/>
                    </a:moveTo>
                    <a:lnTo>
                      <a:pt x="919" y="730"/>
                    </a:lnTo>
                    <a:lnTo>
                      <a:pt x="919" y="774"/>
                    </a:lnTo>
                    <a:lnTo>
                      <a:pt x="875" y="774"/>
                    </a:lnTo>
                    <a:lnTo>
                      <a:pt x="875" y="730"/>
                    </a:lnTo>
                    <a:close/>
                    <a:moveTo>
                      <a:pt x="924" y="730"/>
                    </a:moveTo>
                    <a:lnTo>
                      <a:pt x="967" y="730"/>
                    </a:lnTo>
                    <a:lnTo>
                      <a:pt x="967" y="774"/>
                    </a:lnTo>
                    <a:lnTo>
                      <a:pt x="924" y="774"/>
                    </a:lnTo>
                    <a:lnTo>
                      <a:pt x="924" y="730"/>
                    </a:lnTo>
                    <a:close/>
                    <a:moveTo>
                      <a:pt x="972" y="730"/>
                    </a:moveTo>
                    <a:lnTo>
                      <a:pt x="1016" y="730"/>
                    </a:lnTo>
                    <a:lnTo>
                      <a:pt x="1016" y="774"/>
                    </a:lnTo>
                    <a:lnTo>
                      <a:pt x="972" y="774"/>
                    </a:lnTo>
                    <a:lnTo>
                      <a:pt x="972" y="730"/>
                    </a:lnTo>
                    <a:close/>
                    <a:moveTo>
                      <a:pt x="1021" y="730"/>
                    </a:moveTo>
                    <a:lnTo>
                      <a:pt x="1065" y="730"/>
                    </a:lnTo>
                    <a:lnTo>
                      <a:pt x="1065" y="774"/>
                    </a:lnTo>
                    <a:lnTo>
                      <a:pt x="1021" y="774"/>
                    </a:lnTo>
                    <a:lnTo>
                      <a:pt x="1021" y="730"/>
                    </a:lnTo>
                    <a:close/>
                    <a:moveTo>
                      <a:pt x="1069" y="730"/>
                    </a:moveTo>
                    <a:lnTo>
                      <a:pt x="1113" y="730"/>
                    </a:lnTo>
                    <a:lnTo>
                      <a:pt x="1113" y="774"/>
                    </a:lnTo>
                    <a:lnTo>
                      <a:pt x="1069" y="774"/>
                    </a:lnTo>
                    <a:lnTo>
                      <a:pt x="1069" y="730"/>
                    </a:lnTo>
                    <a:close/>
                    <a:moveTo>
                      <a:pt x="1118" y="730"/>
                    </a:moveTo>
                    <a:lnTo>
                      <a:pt x="1162" y="730"/>
                    </a:lnTo>
                    <a:lnTo>
                      <a:pt x="1162" y="774"/>
                    </a:lnTo>
                    <a:lnTo>
                      <a:pt x="1118" y="774"/>
                    </a:lnTo>
                    <a:lnTo>
                      <a:pt x="1118" y="730"/>
                    </a:lnTo>
                    <a:close/>
                    <a:moveTo>
                      <a:pt x="1166" y="730"/>
                    </a:moveTo>
                    <a:lnTo>
                      <a:pt x="1210" y="730"/>
                    </a:lnTo>
                    <a:lnTo>
                      <a:pt x="1210" y="774"/>
                    </a:lnTo>
                    <a:lnTo>
                      <a:pt x="1166" y="774"/>
                    </a:lnTo>
                    <a:lnTo>
                      <a:pt x="1166" y="730"/>
                    </a:lnTo>
                    <a:close/>
                    <a:moveTo>
                      <a:pt x="1215" y="730"/>
                    </a:moveTo>
                    <a:lnTo>
                      <a:pt x="1259" y="730"/>
                    </a:lnTo>
                    <a:lnTo>
                      <a:pt x="1259" y="774"/>
                    </a:lnTo>
                    <a:lnTo>
                      <a:pt x="1215" y="774"/>
                    </a:lnTo>
                    <a:lnTo>
                      <a:pt x="1215" y="730"/>
                    </a:lnTo>
                    <a:close/>
                    <a:moveTo>
                      <a:pt x="1263" y="730"/>
                    </a:moveTo>
                    <a:lnTo>
                      <a:pt x="1307" y="730"/>
                    </a:lnTo>
                    <a:lnTo>
                      <a:pt x="1307" y="774"/>
                    </a:lnTo>
                    <a:lnTo>
                      <a:pt x="1263" y="774"/>
                    </a:lnTo>
                    <a:lnTo>
                      <a:pt x="1263" y="730"/>
                    </a:lnTo>
                    <a:close/>
                    <a:moveTo>
                      <a:pt x="1312" y="730"/>
                    </a:moveTo>
                    <a:lnTo>
                      <a:pt x="1354" y="730"/>
                    </a:lnTo>
                    <a:lnTo>
                      <a:pt x="1354" y="774"/>
                    </a:lnTo>
                    <a:lnTo>
                      <a:pt x="1312" y="774"/>
                    </a:lnTo>
                    <a:lnTo>
                      <a:pt x="1312" y="730"/>
                    </a:lnTo>
                    <a:close/>
                    <a:moveTo>
                      <a:pt x="1312" y="725"/>
                    </a:moveTo>
                    <a:lnTo>
                      <a:pt x="1312" y="683"/>
                    </a:lnTo>
                    <a:lnTo>
                      <a:pt x="1354" y="683"/>
                    </a:lnTo>
                    <a:lnTo>
                      <a:pt x="1354" y="725"/>
                    </a:lnTo>
                    <a:lnTo>
                      <a:pt x="1312" y="725"/>
                    </a:lnTo>
                    <a:close/>
                    <a:moveTo>
                      <a:pt x="1312" y="677"/>
                    </a:moveTo>
                    <a:lnTo>
                      <a:pt x="1312" y="634"/>
                    </a:lnTo>
                    <a:lnTo>
                      <a:pt x="1354" y="634"/>
                    </a:lnTo>
                    <a:lnTo>
                      <a:pt x="1354" y="677"/>
                    </a:lnTo>
                    <a:lnTo>
                      <a:pt x="1312" y="677"/>
                    </a:lnTo>
                    <a:close/>
                    <a:moveTo>
                      <a:pt x="1312" y="628"/>
                    </a:moveTo>
                    <a:lnTo>
                      <a:pt x="1312" y="586"/>
                    </a:lnTo>
                    <a:lnTo>
                      <a:pt x="1354" y="586"/>
                    </a:lnTo>
                    <a:lnTo>
                      <a:pt x="1354" y="628"/>
                    </a:lnTo>
                    <a:lnTo>
                      <a:pt x="1312" y="628"/>
                    </a:lnTo>
                    <a:close/>
                    <a:moveTo>
                      <a:pt x="1312" y="580"/>
                    </a:moveTo>
                    <a:lnTo>
                      <a:pt x="1312" y="537"/>
                    </a:lnTo>
                    <a:lnTo>
                      <a:pt x="1354" y="537"/>
                    </a:lnTo>
                    <a:lnTo>
                      <a:pt x="1354" y="580"/>
                    </a:lnTo>
                    <a:lnTo>
                      <a:pt x="1312" y="580"/>
                    </a:lnTo>
                    <a:close/>
                    <a:moveTo>
                      <a:pt x="1312" y="531"/>
                    </a:moveTo>
                    <a:lnTo>
                      <a:pt x="1312" y="440"/>
                    </a:lnTo>
                    <a:lnTo>
                      <a:pt x="1354" y="440"/>
                    </a:lnTo>
                    <a:lnTo>
                      <a:pt x="1354" y="531"/>
                    </a:lnTo>
                    <a:lnTo>
                      <a:pt x="1312" y="531"/>
                    </a:lnTo>
                    <a:close/>
                    <a:moveTo>
                      <a:pt x="1312" y="435"/>
                    </a:moveTo>
                    <a:lnTo>
                      <a:pt x="1312" y="391"/>
                    </a:lnTo>
                    <a:lnTo>
                      <a:pt x="1354" y="391"/>
                    </a:lnTo>
                    <a:lnTo>
                      <a:pt x="1354" y="435"/>
                    </a:lnTo>
                    <a:lnTo>
                      <a:pt x="1312" y="435"/>
                    </a:lnTo>
                    <a:close/>
                    <a:moveTo>
                      <a:pt x="1312" y="387"/>
                    </a:moveTo>
                    <a:lnTo>
                      <a:pt x="1312" y="343"/>
                    </a:lnTo>
                    <a:lnTo>
                      <a:pt x="1354" y="343"/>
                    </a:lnTo>
                    <a:lnTo>
                      <a:pt x="1354" y="387"/>
                    </a:lnTo>
                    <a:lnTo>
                      <a:pt x="1312" y="387"/>
                    </a:lnTo>
                    <a:close/>
                    <a:moveTo>
                      <a:pt x="1312" y="338"/>
                    </a:moveTo>
                    <a:lnTo>
                      <a:pt x="1312" y="294"/>
                    </a:lnTo>
                    <a:lnTo>
                      <a:pt x="1354" y="294"/>
                    </a:lnTo>
                    <a:lnTo>
                      <a:pt x="1354" y="338"/>
                    </a:lnTo>
                    <a:lnTo>
                      <a:pt x="1312" y="338"/>
                    </a:lnTo>
                    <a:close/>
                    <a:moveTo>
                      <a:pt x="1312" y="290"/>
                    </a:moveTo>
                    <a:lnTo>
                      <a:pt x="1312" y="246"/>
                    </a:lnTo>
                    <a:lnTo>
                      <a:pt x="1354" y="246"/>
                    </a:lnTo>
                    <a:lnTo>
                      <a:pt x="1354" y="290"/>
                    </a:lnTo>
                    <a:lnTo>
                      <a:pt x="1312" y="290"/>
                    </a:lnTo>
                    <a:close/>
                    <a:moveTo>
                      <a:pt x="1312" y="241"/>
                    </a:moveTo>
                    <a:lnTo>
                      <a:pt x="1312" y="197"/>
                    </a:lnTo>
                    <a:lnTo>
                      <a:pt x="1354" y="197"/>
                    </a:lnTo>
                    <a:lnTo>
                      <a:pt x="1354" y="241"/>
                    </a:lnTo>
                    <a:lnTo>
                      <a:pt x="1312" y="241"/>
                    </a:lnTo>
                    <a:close/>
                    <a:moveTo>
                      <a:pt x="1312" y="193"/>
                    </a:moveTo>
                    <a:lnTo>
                      <a:pt x="1312" y="149"/>
                    </a:lnTo>
                    <a:lnTo>
                      <a:pt x="1354" y="149"/>
                    </a:lnTo>
                    <a:lnTo>
                      <a:pt x="1354" y="193"/>
                    </a:lnTo>
                    <a:lnTo>
                      <a:pt x="1312" y="193"/>
                    </a:lnTo>
                    <a:close/>
                    <a:moveTo>
                      <a:pt x="1307" y="193"/>
                    </a:moveTo>
                    <a:lnTo>
                      <a:pt x="1263" y="193"/>
                    </a:lnTo>
                    <a:lnTo>
                      <a:pt x="1263" y="149"/>
                    </a:lnTo>
                    <a:lnTo>
                      <a:pt x="1307" y="149"/>
                    </a:lnTo>
                    <a:lnTo>
                      <a:pt x="1307" y="193"/>
                    </a:lnTo>
                    <a:close/>
                    <a:moveTo>
                      <a:pt x="1259" y="193"/>
                    </a:moveTo>
                    <a:lnTo>
                      <a:pt x="1215" y="193"/>
                    </a:lnTo>
                    <a:lnTo>
                      <a:pt x="1215" y="149"/>
                    </a:lnTo>
                    <a:lnTo>
                      <a:pt x="1259" y="149"/>
                    </a:lnTo>
                    <a:lnTo>
                      <a:pt x="1259" y="193"/>
                    </a:lnTo>
                    <a:close/>
                    <a:moveTo>
                      <a:pt x="1210" y="193"/>
                    </a:moveTo>
                    <a:lnTo>
                      <a:pt x="1166" y="193"/>
                    </a:lnTo>
                    <a:lnTo>
                      <a:pt x="1166" y="149"/>
                    </a:lnTo>
                    <a:lnTo>
                      <a:pt x="1210" y="149"/>
                    </a:lnTo>
                    <a:lnTo>
                      <a:pt x="1210" y="193"/>
                    </a:lnTo>
                    <a:close/>
                    <a:moveTo>
                      <a:pt x="1162" y="193"/>
                    </a:moveTo>
                    <a:lnTo>
                      <a:pt x="1118" y="193"/>
                    </a:lnTo>
                    <a:lnTo>
                      <a:pt x="1118" y="149"/>
                    </a:lnTo>
                    <a:lnTo>
                      <a:pt x="1162" y="149"/>
                    </a:lnTo>
                    <a:lnTo>
                      <a:pt x="1162" y="193"/>
                    </a:lnTo>
                    <a:close/>
                    <a:moveTo>
                      <a:pt x="1113" y="193"/>
                    </a:moveTo>
                    <a:lnTo>
                      <a:pt x="1069" y="193"/>
                    </a:lnTo>
                    <a:lnTo>
                      <a:pt x="1069" y="149"/>
                    </a:lnTo>
                    <a:lnTo>
                      <a:pt x="1113" y="149"/>
                    </a:lnTo>
                    <a:lnTo>
                      <a:pt x="1113" y="193"/>
                    </a:lnTo>
                    <a:close/>
                    <a:moveTo>
                      <a:pt x="1065" y="193"/>
                    </a:moveTo>
                    <a:lnTo>
                      <a:pt x="1021" y="193"/>
                    </a:lnTo>
                    <a:lnTo>
                      <a:pt x="1021" y="149"/>
                    </a:lnTo>
                    <a:lnTo>
                      <a:pt x="1065" y="149"/>
                    </a:lnTo>
                    <a:lnTo>
                      <a:pt x="1065" y="193"/>
                    </a:lnTo>
                    <a:close/>
                    <a:moveTo>
                      <a:pt x="1016" y="193"/>
                    </a:moveTo>
                    <a:lnTo>
                      <a:pt x="972" y="193"/>
                    </a:lnTo>
                    <a:lnTo>
                      <a:pt x="972" y="149"/>
                    </a:lnTo>
                    <a:lnTo>
                      <a:pt x="1016" y="149"/>
                    </a:lnTo>
                    <a:lnTo>
                      <a:pt x="1016" y="193"/>
                    </a:lnTo>
                    <a:close/>
                    <a:moveTo>
                      <a:pt x="967" y="193"/>
                    </a:moveTo>
                    <a:lnTo>
                      <a:pt x="924" y="193"/>
                    </a:lnTo>
                    <a:lnTo>
                      <a:pt x="924" y="149"/>
                    </a:lnTo>
                    <a:lnTo>
                      <a:pt x="967" y="149"/>
                    </a:lnTo>
                    <a:lnTo>
                      <a:pt x="967" y="193"/>
                    </a:lnTo>
                    <a:close/>
                    <a:moveTo>
                      <a:pt x="919" y="193"/>
                    </a:moveTo>
                    <a:lnTo>
                      <a:pt x="875" y="193"/>
                    </a:lnTo>
                    <a:lnTo>
                      <a:pt x="875" y="149"/>
                    </a:lnTo>
                    <a:lnTo>
                      <a:pt x="919" y="149"/>
                    </a:lnTo>
                    <a:lnTo>
                      <a:pt x="919" y="193"/>
                    </a:lnTo>
                    <a:close/>
                    <a:moveTo>
                      <a:pt x="870" y="193"/>
                    </a:moveTo>
                    <a:lnTo>
                      <a:pt x="826" y="193"/>
                    </a:lnTo>
                    <a:lnTo>
                      <a:pt x="826" y="149"/>
                    </a:lnTo>
                    <a:lnTo>
                      <a:pt x="870" y="149"/>
                    </a:lnTo>
                    <a:lnTo>
                      <a:pt x="870" y="193"/>
                    </a:lnTo>
                    <a:close/>
                    <a:moveTo>
                      <a:pt x="822" y="193"/>
                    </a:moveTo>
                    <a:lnTo>
                      <a:pt x="729" y="193"/>
                    </a:lnTo>
                    <a:lnTo>
                      <a:pt x="729" y="149"/>
                    </a:lnTo>
                    <a:lnTo>
                      <a:pt x="822" y="149"/>
                    </a:lnTo>
                    <a:lnTo>
                      <a:pt x="822" y="193"/>
                    </a:lnTo>
                    <a:close/>
                    <a:moveTo>
                      <a:pt x="725" y="193"/>
                    </a:moveTo>
                    <a:lnTo>
                      <a:pt x="681" y="193"/>
                    </a:lnTo>
                    <a:lnTo>
                      <a:pt x="681" y="149"/>
                    </a:lnTo>
                    <a:lnTo>
                      <a:pt x="725" y="149"/>
                    </a:lnTo>
                    <a:lnTo>
                      <a:pt x="725" y="193"/>
                    </a:lnTo>
                    <a:close/>
                    <a:moveTo>
                      <a:pt x="676" y="193"/>
                    </a:moveTo>
                    <a:lnTo>
                      <a:pt x="632" y="193"/>
                    </a:lnTo>
                    <a:lnTo>
                      <a:pt x="632" y="149"/>
                    </a:lnTo>
                    <a:lnTo>
                      <a:pt x="676" y="149"/>
                    </a:lnTo>
                    <a:lnTo>
                      <a:pt x="676" y="193"/>
                    </a:lnTo>
                    <a:close/>
                    <a:moveTo>
                      <a:pt x="628" y="193"/>
                    </a:moveTo>
                    <a:lnTo>
                      <a:pt x="584" y="193"/>
                    </a:lnTo>
                    <a:lnTo>
                      <a:pt x="584" y="149"/>
                    </a:lnTo>
                    <a:lnTo>
                      <a:pt x="628" y="149"/>
                    </a:lnTo>
                    <a:lnTo>
                      <a:pt x="628" y="193"/>
                    </a:lnTo>
                    <a:close/>
                    <a:moveTo>
                      <a:pt x="579" y="193"/>
                    </a:moveTo>
                    <a:lnTo>
                      <a:pt x="535" y="193"/>
                    </a:lnTo>
                    <a:lnTo>
                      <a:pt x="535" y="149"/>
                    </a:lnTo>
                    <a:lnTo>
                      <a:pt x="579" y="149"/>
                    </a:lnTo>
                    <a:lnTo>
                      <a:pt x="579" y="193"/>
                    </a:lnTo>
                    <a:close/>
                    <a:moveTo>
                      <a:pt x="531" y="193"/>
                    </a:moveTo>
                    <a:lnTo>
                      <a:pt x="487" y="193"/>
                    </a:lnTo>
                    <a:lnTo>
                      <a:pt x="487" y="149"/>
                    </a:lnTo>
                    <a:lnTo>
                      <a:pt x="531" y="149"/>
                    </a:lnTo>
                    <a:lnTo>
                      <a:pt x="531" y="193"/>
                    </a:lnTo>
                    <a:close/>
                    <a:moveTo>
                      <a:pt x="482" y="193"/>
                    </a:moveTo>
                    <a:lnTo>
                      <a:pt x="438" y="193"/>
                    </a:lnTo>
                    <a:lnTo>
                      <a:pt x="438" y="149"/>
                    </a:lnTo>
                    <a:lnTo>
                      <a:pt x="482" y="149"/>
                    </a:lnTo>
                    <a:lnTo>
                      <a:pt x="482" y="193"/>
                    </a:lnTo>
                    <a:close/>
                    <a:moveTo>
                      <a:pt x="434" y="193"/>
                    </a:moveTo>
                    <a:lnTo>
                      <a:pt x="390" y="193"/>
                    </a:lnTo>
                    <a:lnTo>
                      <a:pt x="390" y="149"/>
                    </a:lnTo>
                    <a:lnTo>
                      <a:pt x="434" y="149"/>
                    </a:lnTo>
                    <a:lnTo>
                      <a:pt x="434" y="193"/>
                    </a:lnTo>
                    <a:close/>
                    <a:moveTo>
                      <a:pt x="385" y="193"/>
                    </a:moveTo>
                    <a:lnTo>
                      <a:pt x="341" y="193"/>
                    </a:lnTo>
                    <a:lnTo>
                      <a:pt x="341" y="149"/>
                    </a:lnTo>
                    <a:lnTo>
                      <a:pt x="385" y="149"/>
                    </a:lnTo>
                    <a:lnTo>
                      <a:pt x="385" y="193"/>
                    </a:lnTo>
                    <a:close/>
                    <a:moveTo>
                      <a:pt x="337" y="193"/>
                    </a:moveTo>
                    <a:lnTo>
                      <a:pt x="293" y="193"/>
                    </a:lnTo>
                    <a:lnTo>
                      <a:pt x="293" y="149"/>
                    </a:lnTo>
                    <a:lnTo>
                      <a:pt x="337" y="149"/>
                    </a:lnTo>
                    <a:lnTo>
                      <a:pt x="337" y="193"/>
                    </a:lnTo>
                    <a:close/>
                    <a:moveTo>
                      <a:pt x="288" y="193"/>
                    </a:moveTo>
                    <a:lnTo>
                      <a:pt x="246" y="193"/>
                    </a:lnTo>
                    <a:lnTo>
                      <a:pt x="246" y="149"/>
                    </a:lnTo>
                    <a:lnTo>
                      <a:pt x="288" y="149"/>
                    </a:lnTo>
                    <a:lnTo>
                      <a:pt x="288" y="193"/>
                    </a:lnTo>
                    <a:close/>
                    <a:moveTo>
                      <a:pt x="240" y="193"/>
                    </a:moveTo>
                    <a:lnTo>
                      <a:pt x="197" y="193"/>
                    </a:lnTo>
                    <a:lnTo>
                      <a:pt x="197" y="149"/>
                    </a:lnTo>
                    <a:lnTo>
                      <a:pt x="240" y="149"/>
                    </a:lnTo>
                    <a:lnTo>
                      <a:pt x="240" y="193"/>
                    </a:lnTo>
                    <a:close/>
                    <a:moveTo>
                      <a:pt x="191" y="193"/>
                    </a:moveTo>
                    <a:lnTo>
                      <a:pt x="149" y="193"/>
                    </a:lnTo>
                    <a:lnTo>
                      <a:pt x="149" y="149"/>
                    </a:lnTo>
                    <a:lnTo>
                      <a:pt x="191" y="149"/>
                    </a:lnTo>
                    <a:lnTo>
                      <a:pt x="191" y="193"/>
                    </a:lnTo>
                    <a:close/>
                    <a:moveTo>
                      <a:pt x="191" y="197"/>
                    </a:moveTo>
                    <a:lnTo>
                      <a:pt x="191" y="241"/>
                    </a:lnTo>
                    <a:lnTo>
                      <a:pt x="149" y="241"/>
                    </a:lnTo>
                    <a:lnTo>
                      <a:pt x="149" y="197"/>
                    </a:lnTo>
                    <a:lnTo>
                      <a:pt x="191" y="197"/>
                    </a:lnTo>
                    <a:close/>
                    <a:moveTo>
                      <a:pt x="191" y="246"/>
                    </a:moveTo>
                    <a:lnTo>
                      <a:pt x="191" y="290"/>
                    </a:lnTo>
                    <a:lnTo>
                      <a:pt x="149" y="290"/>
                    </a:lnTo>
                    <a:lnTo>
                      <a:pt x="149" y="246"/>
                    </a:lnTo>
                    <a:lnTo>
                      <a:pt x="191" y="246"/>
                    </a:lnTo>
                    <a:close/>
                    <a:moveTo>
                      <a:pt x="191" y="294"/>
                    </a:moveTo>
                    <a:lnTo>
                      <a:pt x="191" y="338"/>
                    </a:lnTo>
                    <a:lnTo>
                      <a:pt x="149" y="338"/>
                    </a:lnTo>
                    <a:lnTo>
                      <a:pt x="149" y="294"/>
                    </a:lnTo>
                    <a:lnTo>
                      <a:pt x="191" y="294"/>
                    </a:lnTo>
                    <a:close/>
                    <a:moveTo>
                      <a:pt x="191" y="343"/>
                    </a:moveTo>
                    <a:lnTo>
                      <a:pt x="191" y="387"/>
                    </a:lnTo>
                    <a:lnTo>
                      <a:pt x="149" y="387"/>
                    </a:lnTo>
                    <a:lnTo>
                      <a:pt x="149" y="343"/>
                    </a:lnTo>
                    <a:lnTo>
                      <a:pt x="191" y="343"/>
                    </a:lnTo>
                    <a:close/>
                    <a:moveTo>
                      <a:pt x="191" y="391"/>
                    </a:moveTo>
                    <a:lnTo>
                      <a:pt x="191" y="435"/>
                    </a:lnTo>
                    <a:lnTo>
                      <a:pt x="149" y="435"/>
                    </a:lnTo>
                    <a:lnTo>
                      <a:pt x="149" y="391"/>
                    </a:lnTo>
                    <a:lnTo>
                      <a:pt x="191" y="391"/>
                    </a:lnTo>
                    <a:close/>
                    <a:moveTo>
                      <a:pt x="191" y="440"/>
                    </a:moveTo>
                    <a:lnTo>
                      <a:pt x="191" y="531"/>
                    </a:lnTo>
                    <a:lnTo>
                      <a:pt x="149" y="531"/>
                    </a:lnTo>
                    <a:lnTo>
                      <a:pt x="149" y="440"/>
                    </a:lnTo>
                    <a:lnTo>
                      <a:pt x="191" y="440"/>
                    </a:lnTo>
                    <a:close/>
                    <a:moveTo>
                      <a:pt x="191" y="537"/>
                    </a:moveTo>
                    <a:lnTo>
                      <a:pt x="191" y="580"/>
                    </a:lnTo>
                    <a:lnTo>
                      <a:pt x="149" y="580"/>
                    </a:lnTo>
                    <a:lnTo>
                      <a:pt x="149" y="537"/>
                    </a:lnTo>
                    <a:lnTo>
                      <a:pt x="191" y="537"/>
                    </a:lnTo>
                    <a:close/>
                    <a:moveTo>
                      <a:pt x="191" y="586"/>
                    </a:moveTo>
                    <a:lnTo>
                      <a:pt x="191" y="628"/>
                    </a:lnTo>
                    <a:lnTo>
                      <a:pt x="149" y="628"/>
                    </a:lnTo>
                    <a:lnTo>
                      <a:pt x="149" y="586"/>
                    </a:lnTo>
                    <a:lnTo>
                      <a:pt x="191" y="586"/>
                    </a:lnTo>
                    <a:close/>
                    <a:moveTo>
                      <a:pt x="191" y="634"/>
                    </a:moveTo>
                    <a:lnTo>
                      <a:pt x="191" y="677"/>
                    </a:lnTo>
                    <a:lnTo>
                      <a:pt x="149" y="677"/>
                    </a:lnTo>
                    <a:lnTo>
                      <a:pt x="149" y="634"/>
                    </a:lnTo>
                    <a:lnTo>
                      <a:pt x="191" y="634"/>
                    </a:lnTo>
                    <a:close/>
                    <a:moveTo>
                      <a:pt x="191" y="683"/>
                    </a:moveTo>
                    <a:lnTo>
                      <a:pt x="191" y="725"/>
                    </a:lnTo>
                    <a:lnTo>
                      <a:pt x="149" y="725"/>
                    </a:lnTo>
                    <a:lnTo>
                      <a:pt x="149" y="683"/>
                    </a:lnTo>
                    <a:lnTo>
                      <a:pt x="191" y="683"/>
                    </a:lnTo>
                    <a:close/>
                    <a:moveTo>
                      <a:pt x="191" y="730"/>
                    </a:moveTo>
                    <a:lnTo>
                      <a:pt x="191" y="774"/>
                    </a:lnTo>
                    <a:lnTo>
                      <a:pt x="149" y="774"/>
                    </a:lnTo>
                    <a:lnTo>
                      <a:pt x="149" y="730"/>
                    </a:lnTo>
                    <a:lnTo>
                      <a:pt x="191" y="730"/>
                    </a:lnTo>
                    <a:close/>
                    <a:moveTo>
                      <a:pt x="191" y="778"/>
                    </a:moveTo>
                    <a:lnTo>
                      <a:pt x="191" y="822"/>
                    </a:lnTo>
                    <a:lnTo>
                      <a:pt x="149" y="822"/>
                    </a:lnTo>
                    <a:lnTo>
                      <a:pt x="149" y="778"/>
                    </a:lnTo>
                    <a:lnTo>
                      <a:pt x="191" y="778"/>
                    </a:lnTo>
                    <a:close/>
                    <a:moveTo>
                      <a:pt x="197" y="778"/>
                    </a:moveTo>
                    <a:lnTo>
                      <a:pt x="240" y="778"/>
                    </a:lnTo>
                    <a:lnTo>
                      <a:pt x="240" y="822"/>
                    </a:lnTo>
                    <a:lnTo>
                      <a:pt x="197" y="822"/>
                    </a:lnTo>
                    <a:lnTo>
                      <a:pt x="197" y="778"/>
                    </a:lnTo>
                    <a:close/>
                    <a:moveTo>
                      <a:pt x="246" y="778"/>
                    </a:moveTo>
                    <a:lnTo>
                      <a:pt x="288" y="778"/>
                    </a:lnTo>
                    <a:lnTo>
                      <a:pt x="288" y="822"/>
                    </a:lnTo>
                    <a:lnTo>
                      <a:pt x="246" y="822"/>
                    </a:lnTo>
                    <a:lnTo>
                      <a:pt x="246" y="778"/>
                    </a:lnTo>
                    <a:close/>
                    <a:moveTo>
                      <a:pt x="293" y="778"/>
                    </a:moveTo>
                    <a:lnTo>
                      <a:pt x="337" y="778"/>
                    </a:lnTo>
                    <a:lnTo>
                      <a:pt x="337" y="822"/>
                    </a:lnTo>
                    <a:lnTo>
                      <a:pt x="293" y="822"/>
                    </a:lnTo>
                    <a:lnTo>
                      <a:pt x="293" y="778"/>
                    </a:lnTo>
                    <a:close/>
                    <a:moveTo>
                      <a:pt x="341" y="778"/>
                    </a:moveTo>
                    <a:lnTo>
                      <a:pt x="385" y="778"/>
                    </a:lnTo>
                    <a:lnTo>
                      <a:pt x="385" y="822"/>
                    </a:lnTo>
                    <a:lnTo>
                      <a:pt x="341" y="822"/>
                    </a:lnTo>
                    <a:lnTo>
                      <a:pt x="341" y="778"/>
                    </a:lnTo>
                    <a:close/>
                    <a:moveTo>
                      <a:pt x="390" y="778"/>
                    </a:moveTo>
                    <a:lnTo>
                      <a:pt x="434" y="778"/>
                    </a:lnTo>
                    <a:lnTo>
                      <a:pt x="434" y="822"/>
                    </a:lnTo>
                    <a:lnTo>
                      <a:pt x="390" y="822"/>
                    </a:lnTo>
                    <a:lnTo>
                      <a:pt x="390" y="778"/>
                    </a:lnTo>
                    <a:close/>
                    <a:moveTo>
                      <a:pt x="438" y="778"/>
                    </a:moveTo>
                    <a:lnTo>
                      <a:pt x="482" y="778"/>
                    </a:lnTo>
                    <a:lnTo>
                      <a:pt x="482" y="822"/>
                    </a:lnTo>
                    <a:lnTo>
                      <a:pt x="438" y="822"/>
                    </a:lnTo>
                    <a:lnTo>
                      <a:pt x="438" y="778"/>
                    </a:lnTo>
                    <a:close/>
                    <a:moveTo>
                      <a:pt x="487" y="778"/>
                    </a:moveTo>
                    <a:lnTo>
                      <a:pt x="531" y="778"/>
                    </a:lnTo>
                    <a:lnTo>
                      <a:pt x="531" y="822"/>
                    </a:lnTo>
                    <a:lnTo>
                      <a:pt x="487" y="822"/>
                    </a:lnTo>
                    <a:lnTo>
                      <a:pt x="487" y="778"/>
                    </a:lnTo>
                    <a:close/>
                    <a:moveTo>
                      <a:pt x="535" y="778"/>
                    </a:moveTo>
                    <a:lnTo>
                      <a:pt x="579" y="778"/>
                    </a:lnTo>
                    <a:lnTo>
                      <a:pt x="579" y="822"/>
                    </a:lnTo>
                    <a:lnTo>
                      <a:pt x="535" y="822"/>
                    </a:lnTo>
                    <a:lnTo>
                      <a:pt x="535" y="778"/>
                    </a:lnTo>
                    <a:close/>
                    <a:moveTo>
                      <a:pt x="584" y="778"/>
                    </a:moveTo>
                    <a:lnTo>
                      <a:pt x="628" y="778"/>
                    </a:lnTo>
                    <a:lnTo>
                      <a:pt x="628" y="822"/>
                    </a:lnTo>
                    <a:lnTo>
                      <a:pt x="584" y="822"/>
                    </a:lnTo>
                    <a:lnTo>
                      <a:pt x="584" y="778"/>
                    </a:lnTo>
                    <a:close/>
                    <a:moveTo>
                      <a:pt x="632" y="778"/>
                    </a:moveTo>
                    <a:lnTo>
                      <a:pt x="676" y="778"/>
                    </a:lnTo>
                    <a:lnTo>
                      <a:pt x="676" y="822"/>
                    </a:lnTo>
                    <a:lnTo>
                      <a:pt x="632" y="822"/>
                    </a:lnTo>
                    <a:lnTo>
                      <a:pt x="632" y="778"/>
                    </a:lnTo>
                    <a:close/>
                    <a:moveTo>
                      <a:pt x="681" y="778"/>
                    </a:moveTo>
                    <a:lnTo>
                      <a:pt x="725" y="778"/>
                    </a:lnTo>
                    <a:lnTo>
                      <a:pt x="725" y="822"/>
                    </a:lnTo>
                    <a:lnTo>
                      <a:pt x="681" y="822"/>
                    </a:lnTo>
                    <a:lnTo>
                      <a:pt x="681" y="778"/>
                    </a:lnTo>
                    <a:close/>
                    <a:moveTo>
                      <a:pt x="729" y="778"/>
                    </a:moveTo>
                    <a:lnTo>
                      <a:pt x="822" y="778"/>
                    </a:lnTo>
                    <a:lnTo>
                      <a:pt x="822" y="822"/>
                    </a:lnTo>
                    <a:lnTo>
                      <a:pt x="729" y="822"/>
                    </a:lnTo>
                    <a:lnTo>
                      <a:pt x="729" y="778"/>
                    </a:lnTo>
                    <a:close/>
                    <a:moveTo>
                      <a:pt x="826" y="778"/>
                    </a:moveTo>
                    <a:lnTo>
                      <a:pt x="870" y="778"/>
                    </a:lnTo>
                    <a:lnTo>
                      <a:pt x="870" y="822"/>
                    </a:lnTo>
                    <a:lnTo>
                      <a:pt x="826" y="822"/>
                    </a:lnTo>
                    <a:lnTo>
                      <a:pt x="826" y="778"/>
                    </a:lnTo>
                    <a:close/>
                    <a:moveTo>
                      <a:pt x="875" y="778"/>
                    </a:moveTo>
                    <a:lnTo>
                      <a:pt x="919" y="778"/>
                    </a:lnTo>
                    <a:lnTo>
                      <a:pt x="919" y="822"/>
                    </a:lnTo>
                    <a:lnTo>
                      <a:pt x="875" y="822"/>
                    </a:lnTo>
                    <a:lnTo>
                      <a:pt x="875" y="778"/>
                    </a:lnTo>
                    <a:close/>
                    <a:moveTo>
                      <a:pt x="924" y="778"/>
                    </a:moveTo>
                    <a:lnTo>
                      <a:pt x="967" y="778"/>
                    </a:lnTo>
                    <a:lnTo>
                      <a:pt x="967" y="822"/>
                    </a:lnTo>
                    <a:lnTo>
                      <a:pt x="924" y="822"/>
                    </a:lnTo>
                    <a:lnTo>
                      <a:pt x="924" y="778"/>
                    </a:lnTo>
                    <a:close/>
                    <a:moveTo>
                      <a:pt x="972" y="778"/>
                    </a:moveTo>
                    <a:lnTo>
                      <a:pt x="1016" y="778"/>
                    </a:lnTo>
                    <a:lnTo>
                      <a:pt x="1016" y="822"/>
                    </a:lnTo>
                    <a:lnTo>
                      <a:pt x="972" y="822"/>
                    </a:lnTo>
                    <a:lnTo>
                      <a:pt x="972" y="778"/>
                    </a:lnTo>
                    <a:close/>
                    <a:moveTo>
                      <a:pt x="1021" y="778"/>
                    </a:moveTo>
                    <a:lnTo>
                      <a:pt x="1065" y="778"/>
                    </a:lnTo>
                    <a:lnTo>
                      <a:pt x="1065" y="822"/>
                    </a:lnTo>
                    <a:lnTo>
                      <a:pt x="1021" y="822"/>
                    </a:lnTo>
                    <a:lnTo>
                      <a:pt x="1021" y="778"/>
                    </a:lnTo>
                    <a:close/>
                    <a:moveTo>
                      <a:pt x="1069" y="778"/>
                    </a:moveTo>
                    <a:lnTo>
                      <a:pt x="1113" y="778"/>
                    </a:lnTo>
                    <a:lnTo>
                      <a:pt x="1113" y="822"/>
                    </a:lnTo>
                    <a:lnTo>
                      <a:pt x="1069" y="822"/>
                    </a:lnTo>
                    <a:lnTo>
                      <a:pt x="1069" y="778"/>
                    </a:lnTo>
                    <a:close/>
                    <a:moveTo>
                      <a:pt x="1118" y="778"/>
                    </a:moveTo>
                    <a:lnTo>
                      <a:pt x="1162" y="778"/>
                    </a:lnTo>
                    <a:lnTo>
                      <a:pt x="1162" y="822"/>
                    </a:lnTo>
                    <a:lnTo>
                      <a:pt x="1118" y="822"/>
                    </a:lnTo>
                    <a:lnTo>
                      <a:pt x="1118" y="778"/>
                    </a:lnTo>
                    <a:close/>
                    <a:moveTo>
                      <a:pt x="1166" y="778"/>
                    </a:moveTo>
                    <a:lnTo>
                      <a:pt x="1210" y="778"/>
                    </a:lnTo>
                    <a:lnTo>
                      <a:pt x="1210" y="822"/>
                    </a:lnTo>
                    <a:lnTo>
                      <a:pt x="1166" y="822"/>
                    </a:lnTo>
                    <a:lnTo>
                      <a:pt x="1166" y="778"/>
                    </a:lnTo>
                    <a:close/>
                    <a:moveTo>
                      <a:pt x="1215" y="778"/>
                    </a:moveTo>
                    <a:lnTo>
                      <a:pt x="1259" y="778"/>
                    </a:lnTo>
                    <a:lnTo>
                      <a:pt x="1259" y="822"/>
                    </a:lnTo>
                    <a:lnTo>
                      <a:pt x="1215" y="822"/>
                    </a:lnTo>
                    <a:lnTo>
                      <a:pt x="1215" y="778"/>
                    </a:lnTo>
                    <a:close/>
                    <a:moveTo>
                      <a:pt x="1263" y="778"/>
                    </a:moveTo>
                    <a:lnTo>
                      <a:pt x="1307" y="778"/>
                    </a:lnTo>
                    <a:lnTo>
                      <a:pt x="1307" y="822"/>
                    </a:lnTo>
                    <a:lnTo>
                      <a:pt x="1263" y="822"/>
                    </a:lnTo>
                    <a:lnTo>
                      <a:pt x="1263" y="778"/>
                    </a:lnTo>
                    <a:close/>
                    <a:moveTo>
                      <a:pt x="1312" y="778"/>
                    </a:moveTo>
                    <a:lnTo>
                      <a:pt x="1354" y="778"/>
                    </a:lnTo>
                    <a:lnTo>
                      <a:pt x="1354" y="822"/>
                    </a:lnTo>
                    <a:lnTo>
                      <a:pt x="1312" y="822"/>
                    </a:lnTo>
                    <a:lnTo>
                      <a:pt x="1312" y="778"/>
                    </a:lnTo>
                    <a:close/>
                    <a:moveTo>
                      <a:pt x="1360" y="778"/>
                    </a:moveTo>
                    <a:lnTo>
                      <a:pt x="1403" y="778"/>
                    </a:lnTo>
                    <a:lnTo>
                      <a:pt x="1403" y="822"/>
                    </a:lnTo>
                    <a:lnTo>
                      <a:pt x="1360" y="822"/>
                    </a:lnTo>
                    <a:lnTo>
                      <a:pt x="1360" y="778"/>
                    </a:lnTo>
                    <a:close/>
                    <a:moveTo>
                      <a:pt x="1360" y="774"/>
                    </a:moveTo>
                    <a:lnTo>
                      <a:pt x="1360" y="730"/>
                    </a:lnTo>
                    <a:lnTo>
                      <a:pt x="1403" y="730"/>
                    </a:lnTo>
                    <a:lnTo>
                      <a:pt x="1403" y="774"/>
                    </a:lnTo>
                    <a:lnTo>
                      <a:pt x="1360" y="774"/>
                    </a:lnTo>
                    <a:close/>
                    <a:moveTo>
                      <a:pt x="1360" y="725"/>
                    </a:moveTo>
                    <a:lnTo>
                      <a:pt x="1360" y="683"/>
                    </a:lnTo>
                    <a:lnTo>
                      <a:pt x="1403" y="683"/>
                    </a:lnTo>
                    <a:lnTo>
                      <a:pt x="1403" y="725"/>
                    </a:lnTo>
                    <a:lnTo>
                      <a:pt x="1360" y="725"/>
                    </a:lnTo>
                    <a:close/>
                    <a:moveTo>
                      <a:pt x="1360" y="677"/>
                    </a:moveTo>
                    <a:lnTo>
                      <a:pt x="1360" y="634"/>
                    </a:lnTo>
                    <a:lnTo>
                      <a:pt x="1403" y="634"/>
                    </a:lnTo>
                    <a:lnTo>
                      <a:pt x="1403" y="677"/>
                    </a:lnTo>
                    <a:lnTo>
                      <a:pt x="1360" y="677"/>
                    </a:lnTo>
                    <a:close/>
                    <a:moveTo>
                      <a:pt x="1360" y="628"/>
                    </a:moveTo>
                    <a:lnTo>
                      <a:pt x="1360" y="586"/>
                    </a:lnTo>
                    <a:lnTo>
                      <a:pt x="1403" y="586"/>
                    </a:lnTo>
                    <a:lnTo>
                      <a:pt x="1403" y="628"/>
                    </a:lnTo>
                    <a:lnTo>
                      <a:pt x="1360" y="628"/>
                    </a:lnTo>
                    <a:close/>
                    <a:moveTo>
                      <a:pt x="1360" y="580"/>
                    </a:moveTo>
                    <a:lnTo>
                      <a:pt x="1360" y="537"/>
                    </a:lnTo>
                    <a:lnTo>
                      <a:pt x="1403" y="537"/>
                    </a:lnTo>
                    <a:lnTo>
                      <a:pt x="1403" y="580"/>
                    </a:lnTo>
                    <a:lnTo>
                      <a:pt x="1360" y="580"/>
                    </a:lnTo>
                    <a:close/>
                    <a:moveTo>
                      <a:pt x="1360" y="531"/>
                    </a:moveTo>
                    <a:lnTo>
                      <a:pt x="1360" y="440"/>
                    </a:lnTo>
                    <a:lnTo>
                      <a:pt x="1403" y="440"/>
                    </a:lnTo>
                    <a:lnTo>
                      <a:pt x="1403" y="531"/>
                    </a:lnTo>
                    <a:lnTo>
                      <a:pt x="1360" y="531"/>
                    </a:lnTo>
                    <a:close/>
                    <a:moveTo>
                      <a:pt x="1360" y="435"/>
                    </a:moveTo>
                    <a:lnTo>
                      <a:pt x="1360" y="391"/>
                    </a:lnTo>
                    <a:lnTo>
                      <a:pt x="1403" y="391"/>
                    </a:lnTo>
                    <a:lnTo>
                      <a:pt x="1403" y="435"/>
                    </a:lnTo>
                    <a:lnTo>
                      <a:pt x="1360" y="435"/>
                    </a:lnTo>
                    <a:close/>
                    <a:moveTo>
                      <a:pt x="1360" y="387"/>
                    </a:moveTo>
                    <a:lnTo>
                      <a:pt x="1360" y="343"/>
                    </a:lnTo>
                    <a:lnTo>
                      <a:pt x="1403" y="343"/>
                    </a:lnTo>
                    <a:lnTo>
                      <a:pt x="1403" y="387"/>
                    </a:lnTo>
                    <a:lnTo>
                      <a:pt x="1360" y="387"/>
                    </a:lnTo>
                    <a:close/>
                    <a:moveTo>
                      <a:pt x="1360" y="338"/>
                    </a:moveTo>
                    <a:lnTo>
                      <a:pt x="1360" y="294"/>
                    </a:lnTo>
                    <a:lnTo>
                      <a:pt x="1403" y="294"/>
                    </a:lnTo>
                    <a:lnTo>
                      <a:pt x="1403" y="338"/>
                    </a:lnTo>
                    <a:lnTo>
                      <a:pt x="1360" y="338"/>
                    </a:lnTo>
                    <a:close/>
                    <a:moveTo>
                      <a:pt x="1360" y="290"/>
                    </a:moveTo>
                    <a:lnTo>
                      <a:pt x="1360" y="246"/>
                    </a:lnTo>
                    <a:lnTo>
                      <a:pt x="1403" y="246"/>
                    </a:lnTo>
                    <a:lnTo>
                      <a:pt x="1403" y="290"/>
                    </a:lnTo>
                    <a:lnTo>
                      <a:pt x="1360" y="290"/>
                    </a:lnTo>
                    <a:close/>
                    <a:moveTo>
                      <a:pt x="1360" y="241"/>
                    </a:moveTo>
                    <a:lnTo>
                      <a:pt x="1360" y="197"/>
                    </a:lnTo>
                    <a:lnTo>
                      <a:pt x="1403" y="197"/>
                    </a:lnTo>
                    <a:lnTo>
                      <a:pt x="1403" y="241"/>
                    </a:lnTo>
                    <a:lnTo>
                      <a:pt x="1360" y="241"/>
                    </a:lnTo>
                    <a:close/>
                    <a:moveTo>
                      <a:pt x="1360" y="193"/>
                    </a:moveTo>
                    <a:lnTo>
                      <a:pt x="1360" y="149"/>
                    </a:lnTo>
                    <a:lnTo>
                      <a:pt x="1403" y="149"/>
                    </a:lnTo>
                    <a:lnTo>
                      <a:pt x="1403" y="193"/>
                    </a:lnTo>
                    <a:lnTo>
                      <a:pt x="1360" y="193"/>
                    </a:lnTo>
                    <a:close/>
                    <a:moveTo>
                      <a:pt x="1360" y="144"/>
                    </a:moveTo>
                    <a:lnTo>
                      <a:pt x="1360" y="100"/>
                    </a:lnTo>
                    <a:lnTo>
                      <a:pt x="1403" y="100"/>
                    </a:lnTo>
                    <a:lnTo>
                      <a:pt x="1403" y="144"/>
                    </a:lnTo>
                    <a:lnTo>
                      <a:pt x="1360" y="144"/>
                    </a:lnTo>
                    <a:close/>
                    <a:moveTo>
                      <a:pt x="1354" y="144"/>
                    </a:moveTo>
                    <a:lnTo>
                      <a:pt x="1312" y="144"/>
                    </a:lnTo>
                    <a:lnTo>
                      <a:pt x="1312" y="100"/>
                    </a:lnTo>
                    <a:lnTo>
                      <a:pt x="1354" y="100"/>
                    </a:lnTo>
                    <a:lnTo>
                      <a:pt x="1354" y="144"/>
                    </a:lnTo>
                    <a:close/>
                    <a:moveTo>
                      <a:pt x="1307" y="144"/>
                    </a:moveTo>
                    <a:lnTo>
                      <a:pt x="1263" y="144"/>
                    </a:lnTo>
                    <a:lnTo>
                      <a:pt x="1263" y="100"/>
                    </a:lnTo>
                    <a:lnTo>
                      <a:pt x="1307" y="100"/>
                    </a:lnTo>
                    <a:lnTo>
                      <a:pt x="1307" y="144"/>
                    </a:lnTo>
                    <a:close/>
                    <a:moveTo>
                      <a:pt x="1259" y="144"/>
                    </a:moveTo>
                    <a:lnTo>
                      <a:pt x="1215" y="144"/>
                    </a:lnTo>
                    <a:lnTo>
                      <a:pt x="1215" y="100"/>
                    </a:lnTo>
                    <a:lnTo>
                      <a:pt x="1259" y="100"/>
                    </a:lnTo>
                    <a:lnTo>
                      <a:pt x="1259" y="144"/>
                    </a:lnTo>
                    <a:close/>
                    <a:moveTo>
                      <a:pt x="1210" y="144"/>
                    </a:moveTo>
                    <a:lnTo>
                      <a:pt x="1166" y="144"/>
                    </a:lnTo>
                    <a:lnTo>
                      <a:pt x="1166" y="100"/>
                    </a:lnTo>
                    <a:lnTo>
                      <a:pt x="1210" y="100"/>
                    </a:lnTo>
                    <a:lnTo>
                      <a:pt x="1210" y="144"/>
                    </a:lnTo>
                    <a:close/>
                    <a:moveTo>
                      <a:pt x="1162" y="144"/>
                    </a:moveTo>
                    <a:lnTo>
                      <a:pt x="1118" y="144"/>
                    </a:lnTo>
                    <a:lnTo>
                      <a:pt x="1118" y="100"/>
                    </a:lnTo>
                    <a:lnTo>
                      <a:pt x="1162" y="100"/>
                    </a:lnTo>
                    <a:lnTo>
                      <a:pt x="1162" y="144"/>
                    </a:lnTo>
                    <a:close/>
                    <a:moveTo>
                      <a:pt x="1113" y="144"/>
                    </a:moveTo>
                    <a:lnTo>
                      <a:pt x="1069" y="144"/>
                    </a:lnTo>
                    <a:lnTo>
                      <a:pt x="1069" y="100"/>
                    </a:lnTo>
                    <a:lnTo>
                      <a:pt x="1113" y="100"/>
                    </a:lnTo>
                    <a:lnTo>
                      <a:pt x="1113" y="144"/>
                    </a:lnTo>
                    <a:close/>
                    <a:moveTo>
                      <a:pt x="1065" y="144"/>
                    </a:moveTo>
                    <a:lnTo>
                      <a:pt x="1021" y="144"/>
                    </a:lnTo>
                    <a:lnTo>
                      <a:pt x="1021" y="100"/>
                    </a:lnTo>
                    <a:lnTo>
                      <a:pt x="1065" y="100"/>
                    </a:lnTo>
                    <a:lnTo>
                      <a:pt x="1065" y="144"/>
                    </a:lnTo>
                    <a:close/>
                    <a:moveTo>
                      <a:pt x="1016" y="144"/>
                    </a:moveTo>
                    <a:lnTo>
                      <a:pt x="972" y="144"/>
                    </a:lnTo>
                    <a:lnTo>
                      <a:pt x="972" y="100"/>
                    </a:lnTo>
                    <a:lnTo>
                      <a:pt x="1016" y="100"/>
                    </a:lnTo>
                    <a:lnTo>
                      <a:pt x="1016" y="144"/>
                    </a:lnTo>
                    <a:close/>
                    <a:moveTo>
                      <a:pt x="967" y="144"/>
                    </a:moveTo>
                    <a:lnTo>
                      <a:pt x="924" y="144"/>
                    </a:lnTo>
                    <a:lnTo>
                      <a:pt x="924" y="100"/>
                    </a:lnTo>
                    <a:lnTo>
                      <a:pt x="967" y="100"/>
                    </a:lnTo>
                    <a:lnTo>
                      <a:pt x="967" y="144"/>
                    </a:lnTo>
                    <a:close/>
                    <a:moveTo>
                      <a:pt x="919" y="144"/>
                    </a:moveTo>
                    <a:lnTo>
                      <a:pt x="875" y="144"/>
                    </a:lnTo>
                    <a:lnTo>
                      <a:pt x="875" y="100"/>
                    </a:lnTo>
                    <a:lnTo>
                      <a:pt x="919" y="100"/>
                    </a:lnTo>
                    <a:lnTo>
                      <a:pt x="919" y="144"/>
                    </a:lnTo>
                    <a:close/>
                    <a:moveTo>
                      <a:pt x="870" y="144"/>
                    </a:moveTo>
                    <a:lnTo>
                      <a:pt x="826" y="144"/>
                    </a:lnTo>
                    <a:lnTo>
                      <a:pt x="826" y="100"/>
                    </a:lnTo>
                    <a:lnTo>
                      <a:pt x="870" y="100"/>
                    </a:lnTo>
                    <a:lnTo>
                      <a:pt x="870" y="144"/>
                    </a:lnTo>
                    <a:close/>
                    <a:moveTo>
                      <a:pt x="822" y="144"/>
                    </a:moveTo>
                    <a:lnTo>
                      <a:pt x="729" y="144"/>
                    </a:lnTo>
                    <a:lnTo>
                      <a:pt x="729" y="100"/>
                    </a:lnTo>
                    <a:lnTo>
                      <a:pt x="822" y="100"/>
                    </a:lnTo>
                    <a:lnTo>
                      <a:pt x="822" y="144"/>
                    </a:lnTo>
                    <a:close/>
                    <a:moveTo>
                      <a:pt x="725" y="144"/>
                    </a:moveTo>
                    <a:lnTo>
                      <a:pt x="681" y="144"/>
                    </a:lnTo>
                    <a:lnTo>
                      <a:pt x="681" y="100"/>
                    </a:lnTo>
                    <a:lnTo>
                      <a:pt x="725" y="100"/>
                    </a:lnTo>
                    <a:lnTo>
                      <a:pt x="725" y="144"/>
                    </a:lnTo>
                    <a:close/>
                    <a:moveTo>
                      <a:pt x="676" y="144"/>
                    </a:moveTo>
                    <a:lnTo>
                      <a:pt x="632" y="144"/>
                    </a:lnTo>
                    <a:lnTo>
                      <a:pt x="632" y="100"/>
                    </a:lnTo>
                    <a:lnTo>
                      <a:pt x="676" y="100"/>
                    </a:lnTo>
                    <a:lnTo>
                      <a:pt x="676" y="144"/>
                    </a:lnTo>
                    <a:close/>
                    <a:moveTo>
                      <a:pt x="628" y="144"/>
                    </a:moveTo>
                    <a:lnTo>
                      <a:pt x="584" y="144"/>
                    </a:lnTo>
                    <a:lnTo>
                      <a:pt x="584" y="100"/>
                    </a:lnTo>
                    <a:lnTo>
                      <a:pt x="628" y="100"/>
                    </a:lnTo>
                    <a:lnTo>
                      <a:pt x="628" y="144"/>
                    </a:lnTo>
                    <a:close/>
                    <a:moveTo>
                      <a:pt x="579" y="144"/>
                    </a:moveTo>
                    <a:lnTo>
                      <a:pt x="535" y="144"/>
                    </a:lnTo>
                    <a:lnTo>
                      <a:pt x="535" y="100"/>
                    </a:lnTo>
                    <a:lnTo>
                      <a:pt x="579" y="100"/>
                    </a:lnTo>
                    <a:lnTo>
                      <a:pt x="579" y="144"/>
                    </a:lnTo>
                    <a:close/>
                    <a:moveTo>
                      <a:pt x="531" y="144"/>
                    </a:moveTo>
                    <a:lnTo>
                      <a:pt x="487" y="144"/>
                    </a:lnTo>
                    <a:lnTo>
                      <a:pt x="487" y="100"/>
                    </a:lnTo>
                    <a:lnTo>
                      <a:pt x="531" y="100"/>
                    </a:lnTo>
                    <a:lnTo>
                      <a:pt x="531" y="144"/>
                    </a:lnTo>
                    <a:close/>
                    <a:moveTo>
                      <a:pt x="482" y="144"/>
                    </a:moveTo>
                    <a:lnTo>
                      <a:pt x="438" y="144"/>
                    </a:lnTo>
                    <a:lnTo>
                      <a:pt x="438" y="100"/>
                    </a:lnTo>
                    <a:lnTo>
                      <a:pt x="482" y="100"/>
                    </a:lnTo>
                    <a:lnTo>
                      <a:pt x="482" y="144"/>
                    </a:lnTo>
                    <a:close/>
                    <a:moveTo>
                      <a:pt x="434" y="144"/>
                    </a:moveTo>
                    <a:lnTo>
                      <a:pt x="390" y="144"/>
                    </a:lnTo>
                    <a:lnTo>
                      <a:pt x="390" y="100"/>
                    </a:lnTo>
                    <a:lnTo>
                      <a:pt x="434" y="100"/>
                    </a:lnTo>
                    <a:lnTo>
                      <a:pt x="434" y="144"/>
                    </a:lnTo>
                    <a:close/>
                    <a:moveTo>
                      <a:pt x="385" y="144"/>
                    </a:moveTo>
                    <a:lnTo>
                      <a:pt x="341" y="144"/>
                    </a:lnTo>
                    <a:lnTo>
                      <a:pt x="341" y="100"/>
                    </a:lnTo>
                    <a:lnTo>
                      <a:pt x="385" y="100"/>
                    </a:lnTo>
                    <a:lnTo>
                      <a:pt x="385" y="144"/>
                    </a:lnTo>
                    <a:close/>
                    <a:moveTo>
                      <a:pt x="337" y="144"/>
                    </a:moveTo>
                    <a:lnTo>
                      <a:pt x="293" y="144"/>
                    </a:lnTo>
                    <a:lnTo>
                      <a:pt x="293" y="100"/>
                    </a:lnTo>
                    <a:lnTo>
                      <a:pt x="337" y="100"/>
                    </a:lnTo>
                    <a:lnTo>
                      <a:pt x="337" y="144"/>
                    </a:lnTo>
                    <a:close/>
                    <a:moveTo>
                      <a:pt x="288" y="144"/>
                    </a:moveTo>
                    <a:lnTo>
                      <a:pt x="246" y="144"/>
                    </a:lnTo>
                    <a:lnTo>
                      <a:pt x="246" y="100"/>
                    </a:lnTo>
                    <a:lnTo>
                      <a:pt x="288" y="100"/>
                    </a:lnTo>
                    <a:lnTo>
                      <a:pt x="288" y="144"/>
                    </a:lnTo>
                    <a:close/>
                    <a:moveTo>
                      <a:pt x="240" y="144"/>
                    </a:moveTo>
                    <a:lnTo>
                      <a:pt x="197" y="144"/>
                    </a:lnTo>
                    <a:lnTo>
                      <a:pt x="197" y="100"/>
                    </a:lnTo>
                    <a:lnTo>
                      <a:pt x="240" y="100"/>
                    </a:lnTo>
                    <a:lnTo>
                      <a:pt x="240" y="144"/>
                    </a:lnTo>
                    <a:close/>
                    <a:moveTo>
                      <a:pt x="191" y="144"/>
                    </a:moveTo>
                    <a:lnTo>
                      <a:pt x="149" y="144"/>
                    </a:lnTo>
                    <a:lnTo>
                      <a:pt x="149" y="100"/>
                    </a:lnTo>
                    <a:lnTo>
                      <a:pt x="191" y="100"/>
                    </a:lnTo>
                    <a:lnTo>
                      <a:pt x="191" y="144"/>
                    </a:lnTo>
                    <a:close/>
                    <a:moveTo>
                      <a:pt x="143" y="144"/>
                    </a:moveTo>
                    <a:lnTo>
                      <a:pt x="100" y="144"/>
                    </a:lnTo>
                    <a:lnTo>
                      <a:pt x="100" y="100"/>
                    </a:lnTo>
                    <a:lnTo>
                      <a:pt x="143" y="100"/>
                    </a:lnTo>
                    <a:lnTo>
                      <a:pt x="143" y="144"/>
                    </a:lnTo>
                    <a:close/>
                    <a:moveTo>
                      <a:pt x="143" y="149"/>
                    </a:moveTo>
                    <a:lnTo>
                      <a:pt x="143" y="193"/>
                    </a:lnTo>
                    <a:lnTo>
                      <a:pt x="100" y="193"/>
                    </a:lnTo>
                    <a:lnTo>
                      <a:pt x="100" y="149"/>
                    </a:lnTo>
                    <a:lnTo>
                      <a:pt x="143" y="149"/>
                    </a:lnTo>
                    <a:close/>
                    <a:moveTo>
                      <a:pt x="143" y="197"/>
                    </a:moveTo>
                    <a:lnTo>
                      <a:pt x="143" y="241"/>
                    </a:lnTo>
                    <a:lnTo>
                      <a:pt x="100" y="241"/>
                    </a:lnTo>
                    <a:lnTo>
                      <a:pt x="100" y="197"/>
                    </a:lnTo>
                    <a:lnTo>
                      <a:pt x="143" y="197"/>
                    </a:lnTo>
                    <a:close/>
                    <a:moveTo>
                      <a:pt x="143" y="246"/>
                    </a:moveTo>
                    <a:lnTo>
                      <a:pt x="143" y="290"/>
                    </a:lnTo>
                    <a:lnTo>
                      <a:pt x="100" y="290"/>
                    </a:lnTo>
                    <a:lnTo>
                      <a:pt x="100" y="246"/>
                    </a:lnTo>
                    <a:lnTo>
                      <a:pt x="143" y="246"/>
                    </a:lnTo>
                    <a:close/>
                    <a:moveTo>
                      <a:pt x="143" y="294"/>
                    </a:moveTo>
                    <a:lnTo>
                      <a:pt x="143" y="338"/>
                    </a:lnTo>
                    <a:lnTo>
                      <a:pt x="100" y="338"/>
                    </a:lnTo>
                    <a:lnTo>
                      <a:pt x="100" y="294"/>
                    </a:lnTo>
                    <a:lnTo>
                      <a:pt x="143" y="294"/>
                    </a:lnTo>
                    <a:close/>
                    <a:moveTo>
                      <a:pt x="143" y="343"/>
                    </a:moveTo>
                    <a:lnTo>
                      <a:pt x="143" y="387"/>
                    </a:lnTo>
                    <a:lnTo>
                      <a:pt x="100" y="387"/>
                    </a:lnTo>
                    <a:lnTo>
                      <a:pt x="100" y="343"/>
                    </a:lnTo>
                    <a:lnTo>
                      <a:pt x="143" y="343"/>
                    </a:lnTo>
                    <a:close/>
                    <a:moveTo>
                      <a:pt x="143" y="391"/>
                    </a:moveTo>
                    <a:lnTo>
                      <a:pt x="143" y="435"/>
                    </a:lnTo>
                    <a:lnTo>
                      <a:pt x="100" y="435"/>
                    </a:lnTo>
                    <a:lnTo>
                      <a:pt x="100" y="391"/>
                    </a:lnTo>
                    <a:lnTo>
                      <a:pt x="143" y="391"/>
                    </a:lnTo>
                    <a:close/>
                    <a:moveTo>
                      <a:pt x="143" y="440"/>
                    </a:moveTo>
                    <a:lnTo>
                      <a:pt x="143" y="531"/>
                    </a:lnTo>
                    <a:lnTo>
                      <a:pt x="100" y="531"/>
                    </a:lnTo>
                    <a:lnTo>
                      <a:pt x="100" y="440"/>
                    </a:lnTo>
                    <a:lnTo>
                      <a:pt x="143" y="440"/>
                    </a:lnTo>
                    <a:close/>
                    <a:moveTo>
                      <a:pt x="143" y="537"/>
                    </a:moveTo>
                    <a:lnTo>
                      <a:pt x="143" y="580"/>
                    </a:lnTo>
                    <a:lnTo>
                      <a:pt x="100" y="580"/>
                    </a:lnTo>
                    <a:lnTo>
                      <a:pt x="100" y="537"/>
                    </a:lnTo>
                    <a:lnTo>
                      <a:pt x="143" y="537"/>
                    </a:lnTo>
                    <a:close/>
                    <a:moveTo>
                      <a:pt x="143" y="586"/>
                    </a:moveTo>
                    <a:lnTo>
                      <a:pt x="143" y="628"/>
                    </a:lnTo>
                    <a:lnTo>
                      <a:pt x="100" y="628"/>
                    </a:lnTo>
                    <a:lnTo>
                      <a:pt x="100" y="586"/>
                    </a:lnTo>
                    <a:lnTo>
                      <a:pt x="143" y="586"/>
                    </a:lnTo>
                    <a:close/>
                    <a:moveTo>
                      <a:pt x="143" y="634"/>
                    </a:moveTo>
                    <a:lnTo>
                      <a:pt x="143" y="677"/>
                    </a:lnTo>
                    <a:lnTo>
                      <a:pt x="100" y="677"/>
                    </a:lnTo>
                    <a:lnTo>
                      <a:pt x="100" y="634"/>
                    </a:lnTo>
                    <a:lnTo>
                      <a:pt x="143" y="634"/>
                    </a:lnTo>
                    <a:close/>
                    <a:moveTo>
                      <a:pt x="143" y="683"/>
                    </a:moveTo>
                    <a:lnTo>
                      <a:pt x="143" y="725"/>
                    </a:lnTo>
                    <a:lnTo>
                      <a:pt x="100" y="725"/>
                    </a:lnTo>
                    <a:lnTo>
                      <a:pt x="100" y="683"/>
                    </a:lnTo>
                    <a:lnTo>
                      <a:pt x="143" y="683"/>
                    </a:lnTo>
                    <a:close/>
                    <a:moveTo>
                      <a:pt x="143" y="730"/>
                    </a:moveTo>
                    <a:lnTo>
                      <a:pt x="143" y="774"/>
                    </a:lnTo>
                    <a:lnTo>
                      <a:pt x="100" y="774"/>
                    </a:lnTo>
                    <a:lnTo>
                      <a:pt x="100" y="730"/>
                    </a:lnTo>
                    <a:lnTo>
                      <a:pt x="143" y="730"/>
                    </a:lnTo>
                    <a:close/>
                    <a:moveTo>
                      <a:pt x="143" y="778"/>
                    </a:moveTo>
                    <a:lnTo>
                      <a:pt x="143" y="822"/>
                    </a:lnTo>
                    <a:lnTo>
                      <a:pt x="100" y="822"/>
                    </a:lnTo>
                    <a:lnTo>
                      <a:pt x="100" y="778"/>
                    </a:lnTo>
                    <a:lnTo>
                      <a:pt x="143" y="778"/>
                    </a:lnTo>
                    <a:close/>
                    <a:moveTo>
                      <a:pt x="143" y="827"/>
                    </a:moveTo>
                    <a:lnTo>
                      <a:pt x="143" y="871"/>
                    </a:lnTo>
                    <a:lnTo>
                      <a:pt x="100" y="871"/>
                    </a:lnTo>
                    <a:lnTo>
                      <a:pt x="100" y="827"/>
                    </a:lnTo>
                    <a:lnTo>
                      <a:pt x="143" y="827"/>
                    </a:lnTo>
                    <a:close/>
                    <a:moveTo>
                      <a:pt x="149" y="827"/>
                    </a:moveTo>
                    <a:lnTo>
                      <a:pt x="191" y="827"/>
                    </a:lnTo>
                    <a:lnTo>
                      <a:pt x="191" y="871"/>
                    </a:lnTo>
                    <a:lnTo>
                      <a:pt x="149" y="871"/>
                    </a:lnTo>
                    <a:lnTo>
                      <a:pt x="149" y="827"/>
                    </a:lnTo>
                    <a:close/>
                    <a:moveTo>
                      <a:pt x="197" y="827"/>
                    </a:moveTo>
                    <a:lnTo>
                      <a:pt x="240" y="827"/>
                    </a:lnTo>
                    <a:lnTo>
                      <a:pt x="240" y="871"/>
                    </a:lnTo>
                    <a:lnTo>
                      <a:pt x="197" y="871"/>
                    </a:lnTo>
                    <a:lnTo>
                      <a:pt x="197" y="827"/>
                    </a:lnTo>
                    <a:close/>
                    <a:moveTo>
                      <a:pt x="246" y="827"/>
                    </a:moveTo>
                    <a:lnTo>
                      <a:pt x="288" y="827"/>
                    </a:lnTo>
                    <a:lnTo>
                      <a:pt x="288" y="871"/>
                    </a:lnTo>
                    <a:lnTo>
                      <a:pt x="246" y="871"/>
                    </a:lnTo>
                    <a:lnTo>
                      <a:pt x="246" y="827"/>
                    </a:lnTo>
                    <a:close/>
                    <a:moveTo>
                      <a:pt x="293" y="827"/>
                    </a:moveTo>
                    <a:lnTo>
                      <a:pt x="337" y="827"/>
                    </a:lnTo>
                    <a:lnTo>
                      <a:pt x="337" y="871"/>
                    </a:lnTo>
                    <a:lnTo>
                      <a:pt x="293" y="871"/>
                    </a:lnTo>
                    <a:lnTo>
                      <a:pt x="293" y="827"/>
                    </a:lnTo>
                    <a:close/>
                    <a:moveTo>
                      <a:pt x="341" y="827"/>
                    </a:moveTo>
                    <a:lnTo>
                      <a:pt x="385" y="827"/>
                    </a:lnTo>
                    <a:lnTo>
                      <a:pt x="385" y="871"/>
                    </a:lnTo>
                    <a:lnTo>
                      <a:pt x="341" y="871"/>
                    </a:lnTo>
                    <a:lnTo>
                      <a:pt x="341" y="827"/>
                    </a:lnTo>
                    <a:close/>
                    <a:moveTo>
                      <a:pt x="390" y="827"/>
                    </a:moveTo>
                    <a:lnTo>
                      <a:pt x="434" y="827"/>
                    </a:lnTo>
                    <a:lnTo>
                      <a:pt x="434" y="871"/>
                    </a:lnTo>
                    <a:lnTo>
                      <a:pt x="390" y="871"/>
                    </a:lnTo>
                    <a:lnTo>
                      <a:pt x="390" y="827"/>
                    </a:lnTo>
                    <a:close/>
                    <a:moveTo>
                      <a:pt x="438" y="827"/>
                    </a:moveTo>
                    <a:lnTo>
                      <a:pt x="482" y="827"/>
                    </a:lnTo>
                    <a:lnTo>
                      <a:pt x="482" y="871"/>
                    </a:lnTo>
                    <a:lnTo>
                      <a:pt x="438" y="871"/>
                    </a:lnTo>
                    <a:lnTo>
                      <a:pt x="438" y="827"/>
                    </a:lnTo>
                    <a:close/>
                    <a:moveTo>
                      <a:pt x="487" y="827"/>
                    </a:moveTo>
                    <a:lnTo>
                      <a:pt x="531" y="827"/>
                    </a:lnTo>
                    <a:lnTo>
                      <a:pt x="531" y="871"/>
                    </a:lnTo>
                    <a:lnTo>
                      <a:pt x="487" y="871"/>
                    </a:lnTo>
                    <a:lnTo>
                      <a:pt x="487" y="827"/>
                    </a:lnTo>
                    <a:close/>
                    <a:moveTo>
                      <a:pt x="535" y="827"/>
                    </a:moveTo>
                    <a:lnTo>
                      <a:pt x="579" y="827"/>
                    </a:lnTo>
                    <a:lnTo>
                      <a:pt x="579" y="871"/>
                    </a:lnTo>
                    <a:lnTo>
                      <a:pt x="535" y="871"/>
                    </a:lnTo>
                    <a:lnTo>
                      <a:pt x="535" y="827"/>
                    </a:lnTo>
                    <a:close/>
                    <a:moveTo>
                      <a:pt x="584" y="827"/>
                    </a:moveTo>
                    <a:lnTo>
                      <a:pt x="628" y="827"/>
                    </a:lnTo>
                    <a:lnTo>
                      <a:pt x="628" y="871"/>
                    </a:lnTo>
                    <a:lnTo>
                      <a:pt x="584" y="871"/>
                    </a:lnTo>
                    <a:lnTo>
                      <a:pt x="584" y="827"/>
                    </a:lnTo>
                    <a:close/>
                    <a:moveTo>
                      <a:pt x="632" y="827"/>
                    </a:moveTo>
                    <a:lnTo>
                      <a:pt x="676" y="827"/>
                    </a:lnTo>
                    <a:lnTo>
                      <a:pt x="676" y="871"/>
                    </a:lnTo>
                    <a:lnTo>
                      <a:pt x="632" y="871"/>
                    </a:lnTo>
                    <a:lnTo>
                      <a:pt x="632" y="827"/>
                    </a:lnTo>
                    <a:close/>
                    <a:moveTo>
                      <a:pt x="681" y="827"/>
                    </a:moveTo>
                    <a:lnTo>
                      <a:pt x="725" y="827"/>
                    </a:lnTo>
                    <a:lnTo>
                      <a:pt x="725" y="871"/>
                    </a:lnTo>
                    <a:lnTo>
                      <a:pt x="681" y="871"/>
                    </a:lnTo>
                    <a:lnTo>
                      <a:pt x="681" y="827"/>
                    </a:lnTo>
                    <a:close/>
                    <a:moveTo>
                      <a:pt x="729" y="827"/>
                    </a:moveTo>
                    <a:lnTo>
                      <a:pt x="822" y="827"/>
                    </a:lnTo>
                    <a:lnTo>
                      <a:pt x="822" y="871"/>
                    </a:lnTo>
                    <a:lnTo>
                      <a:pt x="729" y="871"/>
                    </a:lnTo>
                    <a:lnTo>
                      <a:pt x="729" y="827"/>
                    </a:lnTo>
                    <a:close/>
                    <a:moveTo>
                      <a:pt x="826" y="827"/>
                    </a:moveTo>
                    <a:lnTo>
                      <a:pt x="870" y="827"/>
                    </a:lnTo>
                    <a:lnTo>
                      <a:pt x="870" y="871"/>
                    </a:lnTo>
                    <a:lnTo>
                      <a:pt x="826" y="871"/>
                    </a:lnTo>
                    <a:lnTo>
                      <a:pt x="826" y="827"/>
                    </a:lnTo>
                    <a:close/>
                    <a:moveTo>
                      <a:pt x="875" y="827"/>
                    </a:moveTo>
                    <a:lnTo>
                      <a:pt x="919" y="827"/>
                    </a:lnTo>
                    <a:lnTo>
                      <a:pt x="919" y="871"/>
                    </a:lnTo>
                    <a:lnTo>
                      <a:pt x="875" y="871"/>
                    </a:lnTo>
                    <a:lnTo>
                      <a:pt x="875" y="827"/>
                    </a:lnTo>
                    <a:close/>
                    <a:moveTo>
                      <a:pt x="924" y="827"/>
                    </a:moveTo>
                    <a:lnTo>
                      <a:pt x="967" y="827"/>
                    </a:lnTo>
                    <a:lnTo>
                      <a:pt x="967" y="871"/>
                    </a:lnTo>
                    <a:lnTo>
                      <a:pt x="924" y="871"/>
                    </a:lnTo>
                    <a:lnTo>
                      <a:pt x="924" y="827"/>
                    </a:lnTo>
                    <a:close/>
                    <a:moveTo>
                      <a:pt x="972" y="827"/>
                    </a:moveTo>
                    <a:lnTo>
                      <a:pt x="1016" y="827"/>
                    </a:lnTo>
                    <a:lnTo>
                      <a:pt x="1016" y="871"/>
                    </a:lnTo>
                    <a:lnTo>
                      <a:pt x="972" y="871"/>
                    </a:lnTo>
                    <a:lnTo>
                      <a:pt x="972" y="827"/>
                    </a:lnTo>
                    <a:close/>
                    <a:moveTo>
                      <a:pt x="1021" y="827"/>
                    </a:moveTo>
                    <a:lnTo>
                      <a:pt x="1065" y="827"/>
                    </a:lnTo>
                    <a:lnTo>
                      <a:pt x="1065" y="871"/>
                    </a:lnTo>
                    <a:lnTo>
                      <a:pt x="1021" y="871"/>
                    </a:lnTo>
                    <a:lnTo>
                      <a:pt x="1021" y="827"/>
                    </a:lnTo>
                    <a:close/>
                    <a:moveTo>
                      <a:pt x="1069" y="827"/>
                    </a:moveTo>
                    <a:lnTo>
                      <a:pt x="1113" y="827"/>
                    </a:lnTo>
                    <a:lnTo>
                      <a:pt x="1113" y="871"/>
                    </a:lnTo>
                    <a:lnTo>
                      <a:pt x="1069" y="871"/>
                    </a:lnTo>
                    <a:lnTo>
                      <a:pt x="1069" y="827"/>
                    </a:lnTo>
                    <a:close/>
                    <a:moveTo>
                      <a:pt x="1118" y="827"/>
                    </a:moveTo>
                    <a:lnTo>
                      <a:pt x="1162" y="827"/>
                    </a:lnTo>
                    <a:lnTo>
                      <a:pt x="1162" y="871"/>
                    </a:lnTo>
                    <a:lnTo>
                      <a:pt x="1118" y="871"/>
                    </a:lnTo>
                    <a:lnTo>
                      <a:pt x="1118" y="827"/>
                    </a:lnTo>
                    <a:close/>
                    <a:moveTo>
                      <a:pt x="1166" y="827"/>
                    </a:moveTo>
                    <a:lnTo>
                      <a:pt x="1210" y="827"/>
                    </a:lnTo>
                    <a:lnTo>
                      <a:pt x="1210" y="871"/>
                    </a:lnTo>
                    <a:lnTo>
                      <a:pt x="1166" y="871"/>
                    </a:lnTo>
                    <a:lnTo>
                      <a:pt x="1166" y="827"/>
                    </a:lnTo>
                    <a:close/>
                    <a:moveTo>
                      <a:pt x="1215" y="827"/>
                    </a:moveTo>
                    <a:lnTo>
                      <a:pt x="1259" y="827"/>
                    </a:lnTo>
                    <a:lnTo>
                      <a:pt x="1259" y="871"/>
                    </a:lnTo>
                    <a:lnTo>
                      <a:pt x="1215" y="871"/>
                    </a:lnTo>
                    <a:lnTo>
                      <a:pt x="1215" y="827"/>
                    </a:lnTo>
                    <a:close/>
                    <a:moveTo>
                      <a:pt x="1263" y="827"/>
                    </a:moveTo>
                    <a:lnTo>
                      <a:pt x="1307" y="827"/>
                    </a:lnTo>
                    <a:lnTo>
                      <a:pt x="1307" y="871"/>
                    </a:lnTo>
                    <a:lnTo>
                      <a:pt x="1263" y="871"/>
                    </a:lnTo>
                    <a:lnTo>
                      <a:pt x="1263" y="827"/>
                    </a:lnTo>
                    <a:close/>
                    <a:moveTo>
                      <a:pt x="1312" y="827"/>
                    </a:moveTo>
                    <a:lnTo>
                      <a:pt x="1354" y="827"/>
                    </a:lnTo>
                    <a:lnTo>
                      <a:pt x="1354" y="871"/>
                    </a:lnTo>
                    <a:lnTo>
                      <a:pt x="1312" y="871"/>
                    </a:lnTo>
                    <a:lnTo>
                      <a:pt x="1312" y="827"/>
                    </a:lnTo>
                    <a:close/>
                    <a:moveTo>
                      <a:pt x="1360" y="827"/>
                    </a:moveTo>
                    <a:lnTo>
                      <a:pt x="1403" y="827"/>
                    </a:lnTo>
                    <a:lnTo>
                      <a:pt x="1403" y="871"/>
                    </a:lnTo>
                    <a:lnTo>
                      <a:pt x="1360" y="871"/>
                    </a:lnTo>
                    <a:lnTo>
                      <a:pt x="1360" y="827"/>
                    </a:lnTo>
                    <a:close/>
                    <a:moveTo>
                      <a:pt x="1409" y="827"/>
                    </a:moveTo>
                    <a:lnTo>
                      <a:pt x="1451" y="827"/>
                    </a:lnTo>
                    <a:lnTo>
                      <a:pt x="1451" y="871"/>
                    </a:lnTo>
                    <a:lnTo>
                      <a:pt x="1409" y="871"/>
                    </a:lnTo>
                    <a:lnTo>
                      <a:pt x="1409" y="827"/>
                    </a:lnTo>
                    <a:close/>
                    <a:moveTo>
                      <a:pt x="1409" y="822"/>
                    </a:moveTo>
                    <a:lnTo>
                      <a:pt x="1409" y="778"/>
                    </a:lnTo>
                    <a:lnTo>
                      <a:pt x="1451" y="778"/>
                    </a:lnTo>
                    <a:lnTo>
                      <a:pt x="1451" y="822"/>
                    </a:lnTo>
                    <a:lnTo>
                      <a:pt x="1409" y="822"/>
                    </a:lnTo>
                    <a:close/>
                    <a:moveTo>
                      <a:pt x="1409" y="774"/>
                    </a:moveTo>
                    <a:lnTo>
                      <a:pt x="1409" y="730"/>
                    </a:lnTo>
                    <a:lnTo>
                      <a:pt x="1451" y="730"/>
                    </a:lnTo>
                    <a:lnTo>
                      <a:pt x="1451" y="774"/>
                    </a:lnTo>
                    <a:lnTo>
                      <a:pt x="1409" y="774"/>
                    </a:lnTo>
                    <a:close/>
                    <a:moveTo>
                      <a:pt x="1409" y="725"/>
                    </a:moveTo>
                    <a:lnTo>
                      <a:pt x="1409" y="683"/>
                    </a:lnTo>
                    <a:lnTo>
                      <a:pt x="1451" y="683"/>
                    </a:lnTo>
                    <a:lnTo>
                      <a:pt x="1451" y="725"/>
                    </a:lnTo>
                    <a:lnTo>
                      <a:pt x="1409" y="725"/>
                    </a:lnTo>
                    <a:close/>
                    <a:moveTo>
                      <a:pt x="1409" y="677"/>
                    </a:moveTo>
                    <a:lnTo>
                      <a:pt x="1409" y="634"/>
                    </a:lnTo>
                    <a:lnTo>
                      <a:pt x="1451" y="634"/>
                    </a:lnTo>
                    <a:lnTo>
                      <a:pt x="1451" y="677"/>
                    </a:lnTo>
                    <a:lnTo>
                      <a:pt x="1409" y="677"/>
                    </a:lnTo>
                    <a:close/>
                    <a:moveTo>
                      <a:pt x="1409" y="628"/>
                    </a:moveTo>
                    <a:lnTo>
                      <a:pt x="1409" y="586"/>
                    </a:lnTo>
                    <a:lnTo>
                      <a:pt x="1451" y="586"/>
                    </a:lnTo>
                    <a:lnTo>
                      <a:pt x="1451" y="628"/>
                    </a:lnTo>
                    <a:lnTo>
                      <a:pt x="1409" y="628"/>
                    </a:lnTo>
                    <a:close/>
                    <a:moveTo>
                      <a:pt x="1409" y="580"/>
                    </a:moveTo>
                    <a:lnTo>
                      <a:pt x="1409" y="537"/>
                    </a:lnTo>
                    <a:lnTo>
                      <a:pt x="1451" y="537"/>
                    </a:lnTo>
                    <a:lnTo>
                      <a:pt x="1451" y="580"/>
                    </a:lnTo>
                    <a:lnTo>
                      <a:pt x="1409" y="580"/>
                    </a:lnTo>
                    <a:close/>
                    <a:moveTo>
                      <a:pt x="1409" y="531"/>
                    </a:moveTo>
                    <a:lnTo>
                      <a:pt x="1409" y="440"/>
                    </a:lnTo>
                    <a:lnTo>
                      <a:pt x="1451" y="440"/>
                    </a:lnTo>
                    <a:lnTo>
                      <a:pt x="1451" y="531"/>
                    </a:lnTo>
                    <a:lnTo>
                      <a:pt x="1409" y="531"/>
                    </a:lnTo>
                    <a:close/>
                    <a:moveTo>
                      <a:pt x="1409" y="435"/>
                    </a:moveTo>
                    <a:lnTo>
                      <a:pt x="1409" y="391"/>
                    </a:lnTo>
                    <a:lnTo>
                      <a:pt x="1451" y="391"/>
                    </a:lnTo>
                    <a:lnTo>
                      <a:pt x="1451" y="435"/>
                    </a:lnTo>
                    <a:lnTo>
                      <a:pt x="1409" y="435"/>
                    </a:lnTo>
                    <a:close/>
                    <a:moveTo>
                      <a:pt x="1409" y="387"/>
                    </a:moveTo>
                    <a:lnTo>
                      <a:pt x="1409" y="343"/>
                    </a:lnTo>
                    <a:lnTo>
                      <a:pt x="1451" y="343"/>
                    </a:lnTo>
                    <a:lnTo>
                      <a:pt x="1451" y="387"/>
                    </a:lnTo>
                    <a:lnTo>
                      <a:pt x="1409" y="387"/>
                    </a:lnTo>
                    <a:close/>
                    <a:moveTo>
                      <a:pt x="1409" y="338"/>
                    </a:moveTo>
                    <a:lnTo>
                      <a:pt x="1409" y="294"/>
                    </a:lnTo>
                    <a:lnTo>
                      <a:pt x="1451" y="294"/>
                    </a:lnTo>
                    <a:lnTo>
                      <a:pt x="1451" y="338"/>
                    </a:lnTo>
                    <a:lnTo>
                      <a:pt x="1409" y="338"/>
                    </a:lnTo>
                    <a:close/>
                    <a:moveTo>
                      <a:pt x="1409" y="290"/>
                    </a:moveTo>
                    <a:lnTo>
                      <a:pt x="1409" y="246"/>
                    </a:lnTo>
                    <a:lnTo>
                      <a:pt x="1451" y="246"/>
                    </a:lnTo>
                    <a:lnTo>
                      <a:pt x="1451" y="290"/>
                    </a:lnTo>
                    <a:lnTo>
                      <a:pt x="1409" y="290"/>
                    </a:lnTo>
                    <a:close/>
                    <a:moveTo>
                      <a:pt x="1409" y="241"/>
                    </a:moveTo>
                    <a:lnTo>
                      <a:pt x="1409" y="197"/>
                    </a:lnTo>
                    <a:lnTo>
                      <a:pt x="1451" y="197"/>
                    </a:lnTo>
                    <a:lnTo>
                      <a:pt x="1451" y="241"/>
                    </a:lnTo>
                    <a:lnTo>
                      <a:pt x="1409" y="241"/>
                    </a:lnTo>
                    <a:close/>
                    <a:moveTo>
                      <a:pt x="1409" y="193"/>
                    </a:moveTo>
                    <a:lnTo>
                      <a:pt x="1409" y="149"/>
                    </a:lnTo>
                    <a:lnTo>
                      <a:pt x="1451" y="149"/>
                    </a:lnTo>
                    <a:lnTo>
                      <a:pt x="1451" y="193"/>
                    </a:lnTo>
                    <a:lnTo>
                      <a:pt x="1409" y="193"/>
                    </a:lnTo>
                    <a:close/>
                    <a:moveTo>
                      <a:pt x="1409" y="144"/>
                    </a:moveTo>
                    <a:lnTo>
                      <a:pt x="1409" y="100"/>
                    </a:lnTo>
                    <a:lnTo>
                      <a:pt x="1451" y="100"/>
                    </a:lnTo>
                    <a:lnTo>
                      <a:pt x="1451" y="144"/>
                    </a:lnTo>
                    <a:lnTo>
                      <a:pt x="1409" y="144"/>
                    </a:lnTo>
                    <a:close/>
                    <a:moveTo>
                      <a:pt x="1403" y="51"/>
                    </a:moveTo>
                    <a:lnTo>
                      <a:pt x="1403" y="95"/>
                    </a:lnTo>
                    <a:lnTo>
                      <a:pt x="1360" y="95"/>
                    </a:lnTo>
                    <a:lnTo>
                      <a:pt x="1360" y="51"/>
                    </a:lnTo>
                    <a:lnTo>
                      <a:pt x="1403" y="51"/>
                    </a:lnTo>
                    <a:close/>
                    <a:moveTo>
                      <a:pt x="1354" y="51"/>
                    </a:moveTo>
                    <a:lnTo>
                      <a:pt x="1354" y="95"/>
                    </a:lnTo>
                    <a:lnTo>
                      <a:pt x="1312" y="95"/>
                    </a:lnTo>
                    <a:lnTo>
                      <a:pt x="1312" y="51"/>
                    </a:lnTo>
                    <a:lnTo>
                      <a:pt x="1354" y="51"/>
                    </a:lnTo>
                    <a:close/>
                    <a:moveTo>
                      <a:pt x="1307" y="51"/>
                    </a:moveTo>
                    <a:lnTo>
                      <a:pt x="1307" y="95"/>
                    </a:lnTo>
                    <a:lnTo>
                      <a:pt x="1263" y="95"/>
                    </a:lnTo>
                    <a:lnTo>
                      <a:pt x="1263" y="51"/>
                    </a:lnTo>
                    <a:lnTo>
                      <a:pt x="1307" y="51"/>
                    </a:lnTo>
                    <a:close/>
                    <a:moveTo>
                      <a:pt x="1259" y="51"/>
                    </a:moveTo>
                    <a:lnTo>
                      <a:pt x="1259" y="95"/>
                    </a:lnTo>
                    <a:lnTo>
                      <a:pt x="1215" y="95"/>
                    </a:lnTo>
                    <a:lnTo>
                      <a:pt x="1215" y="51"/>
                    </a:lnTo>
                    <a:lnTo>
                      <a:pt x="1259" y="51"/>
                    </a:lnTo>
                    <a:close/>
                    <a:moveTo>
                      <a:pt x="1210" y="51"/>
                    </a:moveTo>
                    <a:lnTo>
                      <a:pt x="1210" y="95"/>
                    </a:lnTo>
                    <a:lnTo>
                      <a:pt x="1166" y="95"/>
                    </a:lnTo>
                    <a:lnTo>
                      <a:pt x="1166" y="51"/>
                    </a:lnTo>
                    <a:lnTo>
                      <a:pt x="1210" y="51"/>
                    </a:lnTo>
                    <a:close/>
                    <a:moveTo>
                      <a:pt x="1162" y="51"/>
                    </a:moveTo>
                    <a:lnTo>
                      <a:pt x="1162" y="95"/>
                    </a:lnTo>
                    <a:lnTo>
                      <a:pt x="1118" y="95"/>
                    </a:lnTo>
                    <a:lnTo>
                      <a:pt x="1118" y="51"/>
                    </a:lnTo>
                    <a:lnTo>
                      <a:pt x="1162" y="51"/>
                    </a:lnTo>
                    <a:close/>
                    <a:moveTo>
                      <a:pt x="1113" y="51"/>
                    </a:moveTo>
                    <a:lnTo>
                      <a:pt x="1113" y="95"/>
                    </a:lnTo>
                    <a:lnTo>
                      <a:pt x="1069" y="95"/>
                    </a:lnTo>
                    <a:lnTo>
                      <a:pt x="1069" y="51"/>
                    </a:lnTo>
                    <a:lnTo>
                      <a:pt x="1113" y="51"/>
                    </a:lnTo>
                    <a:close/>
                    <a:moveTo>
                      <a:pt x="1065" y="51"/>
                    </a:moveTo>
                    <a:lnTo>
                      <a:pt x="1065" y="95"/>
                    </a:lnTo>
                    <a:lnTo>
                      <a:pt x="1021" y="95"/>
                    </a:lnTo>
                    <a:lnTo>
                      <a:pt x="1021" y="51"/>
                    </a:lnTo>
                    <a:lnTo>
                      <a:pt x="1065" y="51"/>
                    </a:lnTo>
                    <a:close/>
                    <a:moveTo>
                      <a:pt x="1016" y="51"/>
                    </a:moveTo>
                    <a:lnTo>
                      <a:pt x="1016" y="95"/>
                    </a:lnTo>
                    <a:lnTo>
                      <a:pt x="972" y="95"/>
                    </a:lnTo>
                    <a:lnTo>
                      <a:pt x="972" y="51"/>
                    </a:lnTo>
                    <a:lnTo>
                      <a:pt x="1016" y="51"/>
                    </a:lnTo>
                    <a:close/>
                    <a:moveTo>
                      <a:pt x="967" y="51"/>
                    </a:moveTo>
                    <a:lnTo>
                      <a:pt x="967" y="95"/>
                    </a:lnTo>
                    <a:lnTo>
                      <a:pt x="924" y="95"/>
                    </a:lnTo>
                    <a:lnTo>
                      <a:pt x="924" y="51"/>
                    </a:lnTo>
                    <a:lnTo>
                      <a:pt x="967" y="51"/>
                    </a:lnTo>
                    <a:close/>
                    <a:moveTo>
                      <a:pt x="919" y="51"/>
                    </a:moveTo>
                    <a:lnTo>
                      <a:pt x="919" y="95"/>
                    </a:lnTo>
                    <a:lnTo>
                      <a:pt x="875" y="95"/>
                    </a:lnTo>
                    <a:lnTo>
                      <a:pt x="875" y="51"/>
                    </a:lnTo>
                    <a:lnTo>
                      <a:pt x="919" y="51"/>
                    </a:lnTo>
                    <a:close/>
                    <a:moveTo>
                      <a:pt x="870" y="51"/>
                    </a:moveTo>
                    <a:lnTo>
                      <a:pt x="870" y="95"/>
                    </a:lnTo>
                    <a:lnTo>
                      <a:pt x="826" y="95"/>
                    </a:lnTo>
                    <a:lnTo>
                      <a:pt x="826" y="51"/>
                    </a:lnTo>
                    <a:lnTo>
                      <a:pt x="870" y="51"/>
                    </a:lnTo>
                    <a:close/>
                    <a:moveTo>
                      <a:pt x="822" y="51"/>
                    </a:moveTo>
                    <a:lnTo>
                      <a:pt x="822" y="95"/>
                    </a:lnTo>
                    <a:lnTo>
                      <a:pt x="729" y="95"/>
                    </a:lnTo>
                    <a:lnTo>
                      <a:pt x="729" y="51"/>
                    </a:lnTo>
                    <a:lnTo>
                      <a:pt x="822" y="51"/>
                    </a:lnTo>
                    <a:close/>
                    <a:moveTo>
                      <a:pt x="725" y="51"/>
                    </a:moveTo>
                    <a:lnTo>
                      <a:pt x="725" y="95"/>
                    </a:lnTo>
                    <a:lnTo>
                      <a:pt x="681" y="95"/>
                    </a:lnTo>
                    <a:lnTo>
                      <a:pt x="681" y="51"/>
                    </a:lnTo>
                    <a:lnTo>
                      <a:pt x="725" y="51"/>
                    </a:lnTo>
                    <a:close/>
                    <a:moveTo>
                      <a:pt x="676" y="51"/>
                    </a:moveTo>
                    <a:lnTo>
                      <a:pt x="676" y="95"/>
                    </a:lnTo>
                    <a:lnTo>
                      <a:pt x="632" y="95"/>
                    </a:lnTo>
                    <a:lnTo>
                      <a:pt x="632" y="51"/>
                    </a:lnTo>
                    <a:lnTo>
                      <a:pt x="676" y="51"/>
                    </a:lnTo>
                    <a:close/>
                    <a:moveTo>
                      <a:pt x="628" y="51"/>
                    </a:moveTo>
                    <a:lnTo>
                      <a:pt x="628" y="95"/>
                    </a:lnTo>
                    <a:lnTo>
                      <a:pt x="584" y="95"/>
                    </a:lnTo>
                    <a:lnTo>
                      <a:pt x="584" y="51"/>
                    </a:lnTo>
                    <a:lnTo>
                      <a:pt x="628" y="51"/>
                    </a:lnTo>
                    <a:close/>
                    <a:moveTo>
                      <a:pt x="579" y="51"/>
                    </a:moveTo>
                    <a:lnTo>
                      <a:pt x="579" y="95"/>
                    </a:lnTo>
                    <a:lnTo>
                      <a:pt x="535" y="95"/>
                    </a:lnTo>
                    <a:lnTo>
                      <a:pt x="535" y="51"/>
                    </a:lnTo>
                    <a:lnTo>
                      <a:pt x="579" y="51"/>
                    </a:lnTo>
                    <a:close/>
                    <a:moveTo>
                      <a:pt x="531" y="51"/>
                    </a:moveTo>
                    <a:lnTo>
                      <a:pt x="531" y="95"/>
                    </a:lnTo>
                    <a:lnTo>
                      <a:pt x="487" y="95"/>
                    </a:lnTo>
                    <a:lnTo>
                      <a:pt x="487" y="51"/>
                    </a:lnTo>
                    <a:lnTo>
                      <a:pt x="531" y="51"/>
                    </a:lnTo>
                    <a:close/>
                    <a:moveTo>
                      <a:pt x="482" y="51"/>
                    </a:moveTo>
                    <a:lnTo>
                      <a:pt x="482" y="95"/>
                    </a:lnTo>
                    <a:lnTo>
                      <a:pt x="438" y="95"/>
                    </a:lnTo>
                    <a:lnTo>
                      <a:pt x="438" y="51"/>
                    </a:lnTo>
                    <a:lnTo>
                      <a:pt x="482" y="51"/>
                    </a:lnTo>
                    <a:close/>
                    <a:moveTo>
                      <a:pt x="434" y="51"/>
                    </a:moveTo>
                    <a:lnTo>
                      <a:pt x="434" y="95"/>
                    </a:lnTo>
                    <a:lnTo>
                      <a:pt x="390" y="95"/>
                    </a:lnTo>
                    <a:lnTo>
                      <a:pt x="390" y="51"/>
                    </a:lnTo>
                    <a:lnTo>
                      <a:pt x="434" y="51"/>
                    </a:lnTo>
                    <a:close/>
                    <a:moveTo>
                      <a:pt x="385" y="51"/>
                    </a:moveTo>
                    <a:lnTo>
                      <a:pt x="385" y="95"/>
                    </a:lnTo>
                    <a:lnTo>
                      <a:pt x="341" y="95"/>
                    </a:lnTo>
                    <a:lnTo>
                      <a:pt x="341" y="51"/>
                    </a:lnTo>
                    <a:lnTo>
                      <a:pt x="385" y="51"/>
                    </a:lnTo>
                    <a:close/>
                    <a:moveTo>
                      <a:pt x="337" y="51"/>
                    </a:moveTo>
                    <a:lnTo>
                      <a:pt x="337" y="95"/>
                    </a:lnTo>
                    <a:lnTo>
                      <a:pt x="293" y="95"/>
                    </a:lnTo>
                    <a:lnTo>
                      <a:pt x="293" y="51"/>
                    </a:lnTo>
                    <a:lnTo>
                      <a:pt x="337" y="51"/>
                    </a:lnTo>
                    <a:close/>
                    <a:moveTo>
                      <a:pt x="288" y="51"/>
                    </a:moveTo>
                    <a:lnTo>
                      <a:pt x="288" y="95"/>
                    </a:lnTo>
                    <a:lnTo>
                      <a:pt x="246" y="95"/>
                    </a:lnTo>
                    <a:lnTo>
                      <a:pt x="246" y="51"/>
                    </a:lnTo>
                    <a:lnTo>
                      <a:pt x="288" y="51"/>
                    </a:lnTo>
                    <a:close/>
                    <a:moveTo>
                      <a:pt x="240" y="51"/>
                    </a:moveTo>
                    <a:lnTo>
                      <a:pt x="240" y="95"/>
                    </a:lnTo>
                    <a:lnTo>
                      <a:pt x="197" y="95"/>
                    </a:lnTo>
                    <a:lnTo>
                      <a:pt x="197" y="51"/>
                    </a:lnTo>
                    <a:lnTo>
                      <a:pt x="240" y="51"/>
                    </a:lnTo>
                    <a:close/>
                    <a:moveTo>
                      <a:pt x="191" y="51"/>
                    </a:moveTo>
                    <a:lnTo>
                      <a:pt x="191" y="95"/>
                    </a:lnTo>
                    <a:lnTo>
                      <a:pt x="149" y="95"/>
                    </a:lnTo>
                    <a:lnTo>
                      <a:pt x="149" y="51"/>
                    </a:lnTo>
                    <a:lnTo>
                      <a:pt x="191" y="51"/>
                    </a:lnTo>
                    <a:close/>
                    <a:moveTo>
                      <a:pt x="143" y="51"/>
                    </a:moveTo>
                    <a:lnTo>
                      <a:pt x="143" y="95"/>
                    </a:lnTo>
                    <a:lnTo>
                      <a:pt x="100" y="95"/>
                    </a:lnTo>
                    <a:lnTo>
                      <a:pt x="100" y="51"/>
                    </a:lnTo>
                    <a:lnTo>
                      <a:pt x="143" y="51"/>
                    </a:lnTo>
                    <a:close/>
                    <a:moveTo>
                      <a:pt x="52" y="51"/>
                    </a:moveTo>
                    <a:lnTo>
                      <a:pt x="94" y="51"/>
                    </a:lnTo>
                    <a:lnTo>
                      <a:pt x="94" y="95"/>
                    </a:lnTo>
                    <a:lnTo>
                      <a:pt x="52" y="95"/>
                    </a:lnTo>
                    <a:lnTo>
                      <a:pt x="52" y="51"/>
                    </a:lnTo>
                    <a:close/>
                    <a:moveTo>
                      <a:pt x="52" y="100"/>
                    </a:moveTo>
                    <a:lnTo>
                      <a:pt x="94" y="100"/>
                    </a:lnTo>
                    <a:lnTo>
                      <a:pt x="94" y="144"/>
                    </a:lnTo>
                    <a:lnTo>
                      <a:pt x="52" y="144"/>
                    </a:lnTo>
                    <a:lnTo>
                      <a:pt x="52" y="100"/>
                    </a:lnTo>
                    <a:close/>
                    <a:moveTo>
                      <a:pt x="52" y="149"/>
                    </a:moveTo>
                    <a:lnTo>
                      <a:pt x="94" y="149"/>
                    </a:lnTo>
                    <a:lnTo>
                      <a:pt x="94" y="193"/>
                    </a:lnTo>
                    <a:lnTo>
                      <a:pt x="52" y="193"/>
                    </a:lnTo>
                    <a:lnTo>
                      <a:pt x="52" y="149"/>
                    </a:lnTo>
                    <a:close/>
                    <a:moveTo>
                      <a:pt x="52" y="197"/>
                    </a:moveTo>
                    <a:lnTo>
                      <a:pt x="94" y="197"/>
                    </a:lnTo>
                    <a:lnTo>
                      <a:pt x="94" y="241"/>
                    </a:lnTo>
                    <a:lnTo>
                      <a:pt x="52" y="241"/>
                    </a:lnTo>
                    <a:lnTo>
                      <a:pt x="52" y="197"/>
                    </a:lnTo>
                    <a:close/>
                    <a:moveTo>
                      <a:pt x="52" y="246"/>
                    </a:moveTo>
                    <a:lnTo>
                      <a:pt x="94" y="246"/>
                    </a:lnTo>
                    <a:lnTo>
                      <a:pt x="94" y="290"/>
                    </a:lnTo>
                    <a:lnTo>
                      <a:pt x="52" y="290"/>
                    </a:lnTo>
                    <a:lnTo>
                      <a:pt x="52" y="246"/>
                    </a:lnTo>
                    <a:close/>
                    <a:moveTo>
                      <a:pt x="52" y="294"/>
                    </a:moveTo>
                    <a:lnTo>
                      <a:pt x="94" y="294"/>
                    </a:lnTo>
                    <a:lnTo>
                      <a:pt x="94" y="338"/>
                    </a:lnTo>
                    <a:lnTo>
                      <a:pt x="52" y="338"/>
                    </a:lnTo>
                    <a:lnTo>
                      <a:pt x="52" y="294"/>
                    </a:lnTo>
                    <a:close/>
                    <a:moveTo>
                      <a:pt x="52" y="343"/>
                    </a:moveTo>
                    <a:lnTo>
                      <a:pt x="94" y="343"/>
                    </a:lnTo>
                    <a:lnTo>
                      <a:pt x="94" y="387"/>
                    </a:lnTo>
                    <a:lnTo>
                      <a:pt x="52" y="387"/>
                    </a:lnTo>
                    <a:lnTo>
                      <a:pt x="52" y="343"/>
                    </a:lnTo>
                    <a:close/>
                    <a:moveTo>
                      <a:pt x="52" y="391"/>
                    </a:moveTo>
                    <a:lnTo>
                      <a:pt x="94" y="391"/>
                    </a:lnTo>
                    <a:lnTo>
                      <a:pt x="94" y="435"/>
                    </a:lnTo>
                    <a:lnTo>
                      <a:pt x="52" y="435"/>
                    </a:lnTo>
                    <a:lnTo>
                      <a:pt x="52" y="391"/>
                    </a:lnTo>
                    <a:close/>
                    <a:moveTo>
                      <a:pt x="52" y="440"/>
                    </a:moveTo>
                    <a:lnTo>
                      <a:pt x="94" y="440"/>
                    </a:lnTo>
                    <a:lnTo>
                      <a:pt x="94" y="531"/>
                    </a:lnTo>
                    <a:lnTo>
                      <a:pt x="52" y="531"/>
                    </a:lnTo>
                    <a:lnTo>
                      <a:pt x="52" y="440"/>
                    </a:lnTo>
                    <a:close/>
                    <a:moveTo>
                      <a:pt x="52" y="537"/>
                    </a:moveTo>
                    <a:lnTo>
                      <a:pt x="94" y="537"/>
                    </a:lnTo>
                    <a:lnTo>
                      <a:pt x="94" y="580"/>
                    </a:lnTo>
                    <a:lnTo>
                      <a:pt x="52" y="580"/>
                    </a:lnTo>
                    <a:lnTo>
                      <a:pt x="52" y="537"/>
                    </a:lnTo>
                    <a:close/>
                    <a:moveTo>
                      <a:pt x="52" y="586"/>
                    </a:moveTo>
                    <a:lnTo>
                      <a:pt x="94" y="586"/>
                    </a:lnTo>
                    <a:lnTo>
                      <a:pt x="94" y="628"/>
                    </a:lnTo>
                    <a:lnTo>
                      <a:pt x="52" y="628"/>
                    </a:lnTo>
                    <a:lnTo>
                      <a:pt x="52" y="586"/>
                    </a:lnTo>
                    <a:close/>
                    <a:moveTo>
                      <a:pt x="52" y="634"/>
                    </a:moveTo>
                    <a:lnTo>
                      <a:pt x="94" y="634"/>
                    </a:lnTo>
                    <a:lnTo>
                      <a:pt x="94" y="677"/>
                    </a:lnTo>
                    <a:lnTo>
                      <a:pt x="52" y="677"/>
                    </a:lnTo>
                    <a:lnTo>
                      <a:pt x="52" y="634"/>
                    </a:lnTo>
                    <a:close/>
                    <a:moveTo>
                      <a:pt x="52" y="683"/>
                    </a:moveTo>
                    <a:lnTo>
                      <a:pt x="94" y="683"/>
                    </a:lnTo>
                    <a:lnTo>
                      <a:pt x="94" y="725"/>
                    </a:lnTo>
                    <a:lnTo>
                      <a:pt x="52" y="725"/>
                    </a:lnTo>
                    <a:lnTo>
                      <a:pt x="52" y="683"/>
                    </a:lnTo>
                    <a:close/>
                    <a:moveTo>
                      <a:pt x="52" y="730"/>
                    </a:moveTo>
                    <a:lnTo>
                      <a:pt x="94" y="730"/>
                    </a:lnTo>
                    <a:lnTo>
                      <a:pt x="94" y="774"/>
                    </a:lnTo>
                    <a:lnTo>
                      <a:pt x="52" y="774"/>
                    </a:lnTo>
                    <a:lnTo>
                      <a:pt x="52" y="730"/>
                    </a:lnTo>
                    <a:close/>
                    <a:moveTo>
                      <a:pt x="52" y="778"/>
                    </a:moveTo>
                    <a:lnTo>
                      <a:pt x="94" y="778"/>
                    </a:lnTo>
                    <a:lnTo>
                      <a:pt x="94" y="822"/>
                    </a:lnTo>
                    <a:lnTo>
                      <a:pt x="52" y="822"/>
                    </a:lnTo>
                    <a:lnTo>
                      <a:pt x="52" y="778"/>
                    </a:lnTo>
                    <a:close/>
                    <a:moveTo>
                      <a:pt x="52" y="827"/>
                    </a:moveTo>
                    <a:lnTo>
                      <a:pt x="94" y="827"/>
                    </a:lnTo>
                    <a:lnTo>
                      <a:pt x="94" y="871"/>
                    </a:lnTo>
                    <a:lnTo>
                      <a:pt x="52" y="871"/>
                    </a:lnTo>
                    <a:lnTo>
                      <a:pt x="52" y="827"/>
                    </a:lnTo>
                    <a:close/>
                    <a:moveTo>
                      <a:pt x="52" y="920"/>
                    </a:moveTo>
                    <a:lnTo>
                      <a:pt x="52" y="876"/>
                    </a:lnTo>
                    <a:lnTo>
                      <a:pt x="94" y="876"/>
                    </a:lnTo>
                    <a:lnTo>
                      <a:pt x="94" y="920"/>
                    </a:lnTo>
                    <a:lnTo>
                      <a:pt x="52" y="920"/>
                    </a:lnTo>
                    <a:close/>
                    <a:moveTo>
                      <a:pt x="100" y="920"/>
                    </a:moveTo>
                    <a:lnTo>
                      <a:pt x="100" y="876"/>
                    </a:lnTo>
                    <a:lnTo>
                      <a:pt x="143" y="876"/>
                    </a:lnTo>
                    <a:lnTo>
                      <a:pt x="143" y="920"/>
                    </a:lnTo>
                    <a:lnTo>
                      <a:pt x="100" y="920"/>
                    </a:lnTo>
                    <a:close/>
                    <a:moveTo>
                      <a:pt x="149" y="920"/>
                    </a:moveTo>
                    <a:lnTo>
                      <a:pt x="149" y="876"/>
                    </a:lnTo>
                    <a:lnTo>
                      <a:pt x="191" y="876"/>
                    </a:lnTo>
                    <a:lnTo>
                      <a:pt x="191" y="920"/>
                    </a:lnTo>
                    <a:lnTo>
                      <a:pt x="149" y="920"/>
                    </a:lnTo>
                    <a:close/>
                    <a:moveTo>
                      <a:pt x="197" y="920"/>
                    </a:moveTo>
                    <a:lnTo>
                      <a:pt x="197" y="876"/>
                    </a:lnTo>
                    <a:lnTo>
                      <a:pt x="240" y="876"/>
                    </a:lnTo>
                    <a:lnTo>
                      <a:pt x="240" y="920"/>
                    </a:lnTo>
                    <a:lnTo>
                      <a:pt x="197" y="920"/>
                    </a:lnTo>
                    <a:close/>
                    <a:moveTo>
                      <a:pt x="246" y="920"/>
                    </a:moveTo>
                    <a:lnTo>
                      <a:pt x="246" y="876"/>
                    </a:lnTo>
                    <a:lnTo>
                      <a:pt x="288" y="876"/>
                    </a:lnTo>
                    <a:lnTo>
                      <a:pt x="288" y="920"/>
                    </a:lnTo>
                    <a:lnTo>
                      <a:pt x="246" y="920"/>
                    </a:lnTo>
                    <a:close/>
                    <a:moveTo>
                      <a:pt x="293" y="920"/>
                    </a:moveTo>
                    <a:lnTo>
                      <a:pt x="293" y="876"/>
                    </a:lnTo>
                    <a:lnTo>
                      <a:pt x="337" y="876"/>
                    </a:lnTo>
                    <a:lnTo>
                      <a:pt x="337" y="920"/>
                    </a:lnTo>
                    <a:lnTo>
                      <a:pt x="293" y="920"/>
                    </a:lnTo>
                    <a:close/>
                    <a:moveTo>
                      <a:pt x="341" y="920"/>
                    </a:moveTo>
                    <a:lnTo>
                      <a:pt x="341" y="876"/>
                    </a:lnTo>
                    <a:lnTo>
                      <a:pt x="385" y="876"/>
                    </a:lnTo>
                    <a:lnTo>
                      <a:pt x="385" y="920"/>
                    </a:lnTo>
                    <a:lnTo>
                      <a:pt x="341" y="920"/>
                    </a:lnTo>
                    <a:close/>
                    <a:moveTo>
                      <a:pt x="390" y="920"/>
                    </a:moveTo>
                    <a:lnTo>
                      <a:pt x="390" y="876"/>
                    </a:lnTo>
                    <a:lnTo>
                      <a:pt x="434" y="876"/>
                    </a:lnTo>
                    <a:lnTo>
                      <a:pt x="434" y="920"/>
                    </a:lnTo>
                    <a:lnTo>
                      <a:pt x="390" y="920"/>
                    </a:lnTo>
                    <a:close/>
                    <a:moveTo>
                      <a:pt x="438" y="920"/>
                    </a:moveTo>
                    <a:lnTo>
                      <a:pt x="438" y="876"/>
                    </a:lnTo>
                    <a:lnTo>
                      <a:pt x="482" y="876"/>
                    </a:lnTo>
                    <a:lnTo>
                      <a:pt x="482" y="920"/>
                    </a:lnTo>
                    <a:lnTo>
                      <a:pt x="438" y="920"/>
                    </a:lnTo>
                    <a:close/>
                    <a:moveTo>
                      <a:pt x="487" y="920"/>
                    </a:moveTo>
                    <a:lnTo>
                      <a:pt x="487" y="876"/>
                    </a:lnTo>
                    <a:lnTo>
                      <a:pt x="531" y="876"/>
                    </a:lnTo>
                    <a:lnTo>
                      <a:pt x="531" y="920"/>
                    </a:lnTo>
                    <a:lnTo>
                      <a:pt x="487" y="920"/>
                    </a:lnTo>
                    <a:close/>
                    <a:moveTo>
                      <a:pt x="535" y="920"/>
                    </a:moveTo>
                    <a:lnTo>
                      <a:pt x="535" y="876"/>
                    </a:lnTo>
                    <a:lnTo>
                      <a:pt x="579" y="876"/>
                    </a:lnTo>
                    <a:lnTo>
                      <a:pt x="579" y="920"/>
                    </a:lnTo>
                    <a:lnTo>
                      <a:pt x="535" y="920"/>
                    </a:lnTo>
                    <a:close/>
                    <a:moveTo>
                      <a:pt x="584" y="920"/>
                    </a:moveTo>
                    <a:lnTo>
                      <a:pt x="584" y="876"/>
                    </a:lnTo>
                    <a:lnTo>
                      <a:pt x="628" y="876"/>
                    </a:lnTo>
                    <a:lnTo>
                      <a:pt x="628" y="920"/>
                    </a:lnTo>
                    <a:lnTo>
                      <a:pt x="584" y="920"/>
                    </a:lnTo>
                    <a:close/>
                    <a:moveTo>
                      <a:pt x="632" y="920"/>
                    </a:moveTo>
                    <a:lnTo>
                      <a:pt x="632" y="876"/>
                    </a:lnTo>
                    <a:lnTo>
                      <a:pt x="676" y="876"/>
                    </a:lnTo>
                    <a:lnTo>
                      <a:pt x="676" y="920"/>
                    </a:lnTo>
                    <a:lnTo>
                      <a:pt x="632" y="920"/>
                    </a:lnTo>
                    <a:close/>
                    <a:moveTo>
                      <a:pt x="681" y="920"/>
                    </a:moveTo>
                    <a:lnTo>
                      <a:pt x="681" y="876"/>
                    </a:lnTo>
                    <a:lnTo>
                      <a:pt x="725" y="876"/>
                    </a:lnTo>
                    <a:lnTo>
                      <a:pt x="725" y="920"/>
                    </a:lnTo>
                    <a:lnTo>
                      <a:pt x="681" y="920"/>
                    </a:lnTo>
                    <a:close/>
                    <a:moveTo>
                      <a:pt x="729" y="920"/>
                    </a:moveTo>
                    <a:lnTo>
                      <a:pt x="729" y="876"/>
                    </a:lnTo>
                    <a:lnTo>
                      <a:pt x="822" y="876"/>
                    </a:lnTo>
                    <a:lnTo>
                      <a:pt x="822" y="920"/>
                    </a:lnTo>
                    <a:lnTo>
                      <a:pt x="729" y="920"/>
                    </a:lnTo>
                    <a:close/>
                    <a:moveTo>
                      <a:pt x="826" y="920"/>
                    </a:moveTo>
                    <a:lnTo>
                      <a:pt x="826" y="876"/>
                    </a:lnTo>
                    <a:lnTo>
                      <a:pt x="870" y="876"/>
                    </a:lnTo>
                    <a:lnTo>
                      <a:pt x="870" y="920"/>
                    </a:lnTo>
                    <a:lnTo>
                      <a:pt x="826" y="920"/>
                    </a:lnTo>
                    <a:close/>
                    <a:moveTo>
                      <a:pt x="875" y="920"/>
                    </a:moveTo>
                    <a:lnTo>
                      <a:pt x="875" y="876"/>
                    </a:lnTo>
                    <a:lnTo>
                      <a:pt x="919" y="876"/>
                    </a:lnTo>
                    <a:lnTo>
                      <a:pt x="919" y="920"/>
                    </a:lnTo>
                    <a:lnTo>
                      <a:pt x="875" y="920"/>
                    </a:lnTo>
                    <a:close/>
                    <a:moveTo>
                      <a:pt x="924" y="920"/>
                    </a:moveTo>
                    <a:lnTo>
                      <a:pt x="924" y="876"/>
                    </a:lnTo>
                    <a:lnTo>
                      <a:pt x="967" y="876"/>
                    </a:lnTo>
                    <a:lnTo>
                      <a:pt x="967" y="920"/>
                    </a:lnTo>
                    <a:lnTo>
                      <a:pt x="924" y="920"/>
                    </a:lnTo>
                    <a:close/>
                    <a:moveTo>
                      <a:pt x="972" y="920"/>
                    </a:moveTo>
                    <a:lnTo>
                      <a:pt x="972" y="876"/>
                    </a:lnTo>
                    <a:lnTo>
                      <a:pt x="1016" y="876"/>
                    </a:lnTo>
                    <a:lnTo>
                      <a:pt x="1016" y="920"/>
                    </a:lnTo>
                    <a:lnTo>
                      <a:pt x="972" y="920"/>
                    </a:lnTo>
                    <a:close/>
                    <a:moveTo>
                      <a:pt x="1021" y="920"/>
                    </a:moveTo>
                    <a:lnTo>
                      <a:pt x="1021" y="876"/>
                    </a:lnTo>
                    <a:lnTo>
                      <a:pt x="1065" y="876"/>
                    </a:lnTo>
                    <a:lnTo>
                      <a:pt x="1065" y="920"/>
                    </a:lnTo>
                    <a:lnTo>
                      <a:pt x="1021" y="920"/>
                    </a:lnTo>
                    <a:close/>
                    <a:moveTo>
                      <a:pt x="1069" y="920"/>
                    </a:moveTo>
                    <a:lnTo>
                      <a:pt x="1069" y="876"/>
                    </a:lnTo>
                    <a:lnTo>
                      <a:pt x="1113" y="876"/>
                    </a:lnTo>
                    <a:lnTo>
                      <a:pt x="1113" y="920"/>
                    </a:lnTo>
                    <a:lnTo>
                      <a:pt x="1069" y="920"/>
                    </a:lnTo>
                    <a:close/>
                    <a:moveTo>
                      <a:pt x="1118" y="920"/>
                    </a:moveTo>
                    <a:lnTo>
                      <a:pt x="1118" y="876"/>
                    </a:lnTo>
                    <a:lnTo>
                      <a:pt x="1162" y="876"/>
                    </a:lnTo>
                    <a:lnTo>
                      <a:pt x="1162" y="920"/>
                    </a:lnTo>
                    <a:lnTo>
                      <a:pt x="1118" y="920"/>
                    </a:lnTo>
                    <a:close/>
                    <a:moveTo>
                      <a:pt x="1166" y="920"/>
                    </a:moveTo>
                    <a:lnTo>
                      <a:pt x="1166" y="876"/>
                    </a:lnTo>
                    <a:lnTo>
                      <a:pt x="1210" y="876"/>
                    </a:lnTo>
                    <a:lnTo>
                      <a:pt x="1210" y="920"/>
                    </a:lnTo>
                    <a:lnTo>
                      <a:pt x="1166" y="920"/>
                    </a:lnTo>
                    <a:close/>
                    <a:moveTo>
                      <a:pt x="1215" y="920"/>
                    </a:moveTo>
                    <a:lnTo>
                      <a:pt x="1215" y="876"/>
                    </a:lnTo>
                    <a:lnTo>
                      <a:pt x="1259" y="876"/>
                    </a:lnTo>
                    <a:lnTo>
                      <a:pt x="1259" y="920"/>
                    </a:lnTo>
                    <a:lnTo>
                      <a:pt x="1215" y="920"/>
                    </a:lnTo>
                    <a:close/>
                    <a:moveTo>
                      <a:pt x="1263" y="920"/>
                    </a:moveTo>
                    <a:lnTo>
                      <a:pt x="1263" y="876"/>
                    </a:lnTo>
                    <a:lnTo>
                      <a:pt x="1307" y="876"/>
                    </a:lnTo>
                    <a:lnTo>
                      <a:pt x="1307" y="920"/>
                    </a:lnTo>
                    <a:lnTo>
                      <a:pt x="1263" y="920"/>
                    </a:lnTo>
                    <a:close/>
                    <a:moveTo>
                      <a:pt x="1312" y="920"/>
                    </a:moveTo>
                    <a:lnTo>
                      <a:pt x="1312" y="876"/>
                    </a:lnTo>
                    <a:lnTo>
                      <a:pt x="1354" y="876"/>
                    </a:lnTo>
                    <a:lnTo>
                      <a:pt x="1354" y="920"/>
                    </a:lnTo>
                    <a:lnTo>
                      <a:pt x="1312" y="920"/>
                    </a:lnTo>
                    <a:close/>
                    <a:moveTo>
                      <a:pt x="1360" y="920"/>
                    </a:moveTo>
                    <a:lnTo>
                      <a:pt x="1360" y="876"/>
                    </a:lnTo>
                    <a:lnTo>
                      <a:pt x="1403" y="876"/>
                    </a:lnTo>
                    <a:lnTo>
                      <a:pt x="1403" y="920"/>
                    </a:lnTo>
                    <a:lnTo>
                      <a:pt x="1360" y="920"/>
                    </a:lnTo>
                    <a:close/>
                    <a:moveTo>
                      <a:pt x="1409" y="920"/>
                    </a:moveTo>
                    <a:lnTo>
                      <a:pt x="1409" y="876"/>
                    </a:lnTo>
                    <a:lnTo>
                      <a:pt x="1451" y="876"/>
                    </a:lnTo>
                    <a:lnTo>
                      <a:pt x="1451" y="920"/>
                    </a:lnTo>
                    <a:lnTo>
                      <a:pt x="1409" y="920"/>
                    </a:lnTo>
                    <a:close/>
                    <a:moveTo>
                      <a:pt x="1500" y="920"/>
                    </a:moveTo>
                    <a:lnTo>
                      <a:pt x="1457" y="920"/>
                    </a:lnTo>
                    <a:lnTo>
                      <a:pt x="1457" y="876"/>
                    </a:lnTo>
                    <a:lnTo>
                      <a:pt x="1500" y="876"/>
                    </a:lnTo>
                    <a:lnTo>
                      <a:pt x="1500" y="920"/>
                    </a:lnTo>
                    <a:close/>
                    <a:moveTo>
                      <a:pt x="1500" y="871"/>
                    </a:moveTo>
                    <a:lnTo>
                      <a:pt x="1457" y="871"/>
                    </a:lnTo>
                    <a:lnTo>
                      <a:pt x="1457" y="827"/>
                    </a:lnTo>
                    <a:lnTo>
                      <a:pt x="1500" y="827"/>
                    </a:lnTo>
                    <a:lnTo>
                      <a:pt x="1500" y="871"/>
                    </a:lnTo>
                    <a:close/>
                    <a:moveTo>
                      <a:pt x="1500" y="822"/>
                    </a:moveTo>
                    <a:lnTo>
                      <a:pt x="1457" y="822"/>
                    </a:lnTo>
                    <a:lnTo>
                      <a:pt x="1457" y="778"/>
                    </a:lnTo>
                    <a:lnTo>
                      <a:pt x="1500" y="778"/>
                    </a:lnTo>
                    <a:lnTo>
                      <a:pt x="1500" y="822"/>
                    </a:lnTo>
                    <a:close/>
                    <a:moveTo>
                      <a:pt x="1500" y="774"/>
                    </a:moveTo>
                    <a:lnTo>
                      <a:pt x="1457" y="774"/>
                    </a:lnTo>
                    <a:lnTo>
                      <a:pt x="1457" y="730"/>
                    </a:lnTo>
                    <a:lnTo>
                      <a:pt x="1500" y="730"/>
                    </a:lnTo>
                    <a:lnTo>
                      <a:pt x="1500" y="774"/>
                    </a:lnTo>
                    <a:close/>
                    <a:moveTo>
                      <a:pt x="1500" y="725"/>
                    </a:moveTo>
                    <a:lnTo>
                      <a:pt x="1457" y="725"/>
                    </a:lnTo>
                    <a:lnTo>
                      <a:pt x="1457" y="683"/>
                    </a:lnTo>
                    <a:lnTo>
                      <a:pt x="1500" y="683"/>
                    </a:lnTo>
                    <a:lnTo>
                      <a:pt x="1500" y="725"/>
                    </a:lnTo>
                    <a:close/>
                    <a:moveTo>
                      <a:pt x="1500" y="677"/>
                    </a:moveTo>
                    <a:lnTo>
                      <a:pt x="1457" y="677"/>
                    </a:lnTo>
                    <a:lnTo>
                      <a:pt x="1457" y="634"/>
                    </a:lnTo>
                    <a:lnTo>
                      <a:pt x="1500" y="634"/>
                    </a:lnTo>
                    <a:lnTo>
                      <a:pt x="1500" y="677"/>
                    </a:lnTo>
                    <a:close/>
                    <a:moveTo>
                      <a:pt x="1500" y="628"/>
                    </a:moveTo>
                    <a:lnTo>
                      <a:pt x="1457" y="628"/>
                    </a:lnTo>
                    <a:lnTo>
                      <a:pt x="1457" y="586"/>
                    </a:lnTo>
                    <a:lnTo>
                      <a:pt x="1500" y="586"/>
                    </a:lnTo>
                    <a:lnTo>
                      <a:pt x="1500" y="628"/>
                    </a:lnTo>
                    <a:close/>
                    <a:moveTo>
                      <a:pt x="1500" y="580"/>
                    </a:moveTo>
                    <a:lnTo>
                      <a:pt x="1457" y="580"/>
                    </a:lnTo>
                    <a:lnTo>
                      <a:pt x="1457" y="537"/>
                    </a:lnTo>
                    <a:lnTo>
                      <a:pt x="1500" y="537"/>
                    </a:lnTo>
                    <a:lnTo>
                      <a:pt x="1500" y="580"/>
                    </a:lnTo>
                    <a:close/>
                    <a:moveTo>
                      <a:pt x="1500" y="531"/>
                    </a:moveTo>
                    <a:lnTo>
                      <a:pt x="1457" y="531"/>
                    </a:lnTo>
                    <a:lnTo>
                      <a:pt x="1457" y="440"/>
                    </a:lnTo>
                    <a:lnTo>
                      <a:pt x="1500" y="440"/>
                    </a:lnTo>
                    <a:lnTo>
                      <a:pt x="1500" y="531"/>
                    </a:lnTo>
                    <a:close/>
                    <a:moveTo>
                      <a:pt x="1500" y="435"/>
                    </a:moveTo>
                    <a:lnTo>
                      <a:pt x="1457" y="435"/>
                    </a:lnTo>
                    <a:lnTo>
                      <a:pt x="1457" y="391"/>
                    </a:lnTo>
                    <a:lnTo>
                      <a:pt x="1500" y="391"/>
                    </a:lnTo>
                    <a:lnTo>
                      <a:pt x="1500" y="435"/>
                    </a:lnTo>
                    <a:close/>
                    <a:moveTo>
                      <a:pt x="1500" y="387"/>
                    </a:moveTo>
                    <a:lnTo>
                      <a:pt x="1457" y="387"/>
                    </a:lnTo>
                    <a:lnTo>
                      <a:pt x="1457" y="343"/>
                    </a:lnTo>
                    <a:lnTo>
                      <a:pt x="1500" y="343"/>
                    </a:lnTo>
                    <a:lnTo>
                      <a:pt x="1500" y="387"/>
                    </a:lnTo>
                    <a:close/>
                    <a:moveTo>
                      <a:pt x="1500" y="338"/>
                    </a:moveTo>
                    <a:lnTo>
                      <a:pt x="1457" y="338"/>
                    </a:lnTo>
                    <a:lnTo>
                      <a:pt x="1457" y="294"/>
                    </a:lnTo>
                    <a:lnTo>
                      <a:pt x="1500" y="294"/>
                    </a:lnTo>
                    <a:lnTo>
                      <a:pt x="1500" y="338"/>
                    </a:lnTo>
                    <a:close/>
                    <a:moveTo>
                      <a:pt x="1500" y="290"/>
                    </a:moveTo>
                    <a:lnTo>
                      <a:pt x="1457" y="290"/>
                    </a:lnTo>
                    <a:lnTo>
                      <a:pt x="1457" y="246"/>
                    </a:lnTo>
                    <a:lnTo>
                      <a:pt x="1500" y="246"/>
                    </a:lnTo>
                    <a:lnTo>
                      <a:pt x="1500" y="290"/>
                    </a:lnTo>
                    <a:close/>
                    <a:moveTo>
                      <a:pt x="1500" y="241"/>
                    </a:moveTo>
                    <a:lnTo>
                      <a:pt x="1457" y="241"/>
                    </a:lnTo>
                    <a:lnTo>
                      <a:pt x="1457" y="197"/>
                    </a:lnTo>
                    <a:lnTo>
                      <a:pt x="1500" y="197"/>
                    </a:lnTo>
                    <a:lnTo>
                      <a:pt x="1500" y="241"/>
                    </a:lnTo>
                    <a:close/>
                    <a:moveTo>
                      <a:pt x="1500" y="193"/>
                    </a:moveTo>
                    <a:lnTo>
                      <a:pt x="1457" y="193"/>
                    </a:lnTo>
                    <a:lnTo>
                      <a:pt x="1457" y="149"/>
                    </a:lnTo>
                    <a:lnTo>
                      <a:pt x="1500" y="149"/>
                    </a:lnTo>
                    <a:lnTo>
                      <a:pt x="1500" y="193"/>
                    </a:lnTo>
                    <a:close/>
                    <a:moveTo>
                      <a:pt x="1500" y="144"/>
                    </a:moveTo>
                    <a:lnTo>
                      <a:pt x="1457" y="144"/>
                    </a:lnTo>
                    <a:lnTo>
                      <a:pt x="1457" y="100"/>
                    </a:lnTo>
                    <a:lnTo>
                      <a:pt x="1500" y="100"/>
                    </a:lnTo>
                    <a:lnTo>
                      <a:pt x="1500" y="144"/>
                    </a:lnTo>
                    <a:close/>
                    <a:moveTo>
                      <a:pt x="1500" y="95"/>
                    </a:moveTo>
                    <a:lnTo>
                      <a:pt x="1457" y="95"/>
                    </a:lnTo>
                    <a:lnTo>
                      <a:pt x="1457" y="51"/>
                    </a:lnTo>
                    <a:lnTo>
                      <a:pt x="1500" y="51"/>
                    </a:lnTo>
                    <a:lnTo>
                      <a:pt x="1500" y="95"/>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799"/>
              <p:cNvSpPr>
                <a:spLocks/>
              </p:cNvSpPr>
              <p:nvPr/>
            </p:nvSpPr>
            <p:spPr bwMode="auto">
              <a:xfrm>
                <a:off x="754446" y="3408123"/>
                <a:ext cx="1415799" cy="886358"/>
              </a:xfrm>
              <a:custGeom>
                <a:avLst/>
                <a:gdLst>
                  <a:gd name="T0" fmla="*/ 1462 w 1551"/>
                  <a:gd name="T1" fmla="*/ 461 h 971"/>
                  <a:gd name="T2" fmla="*/ 1365 w 1551"/>
                  <a:gd name="T3" fmla="*/ 473 h 971"/>
                  <a:gd name="T4" fmla="*/ 1301 w 1551"/>
                  <a:gd name="T5" fmla="*/ 473 h 971"/>
                  <a:gd name="T6" fmla="*/ 1204 w 1551"/>
                  <a:gd name="T7" fmla="*/ 461 h 971"/>
                  <a:gd name="T8" fmla="*/ 1122 w 1551"/>
                  <a:gd name="T9" fmla="*/ 461 h 971"/>
                  <a:gd name="T10" fmla="*/ 1025 w 1551"/>
                  <a:gd name="T11" fmla="*/ 473 h 971"/>
                  <a:gd name="T12" fmla="*/ 963 w 1551"/>
                  <a:gd name="T13" fmla="*/ 473 h 971"/>
                  <a:gd name="T14" fmla="*/ 866 w 1551"/>
                  <a:gd name="T15" fmla="*/ 461 h 971"/>
                  <a:gd name="T16" fmla="*/ 789 w 1551"/>
                  <a:gd name="T17" fmla="*/ 444 h 971"/>
                  <a:gd name="T18" fmla="*/ 789 w 1551"/>
                  <a:gd name="T19" fmla="*/ 381 h 971"/>
                  <a:gd name="T20" fmla="*/ 801 w 1551"/>
                  <a:gd name="T21" fmla="*/ 284 h 971"/>
                  <a:gd name="T22" fmla="*/ 801 w 1551"/>
                  <a:gd name="T23" fmla="*/ 202 h 971"/>
                  <a:gd name="T24" fmla="*/ 789 w 1551"/>
                  <a:gd name="T25" fmla="*/ 105 h 971"/>
                  <a:gd name="T26" fmla="*/ 789 w 1551"/>
                  <a:gd name="T27" fmla="*/ 42 h 971"/>
                  <a:gd name="T28" fmla="*/ 764 w 1551"/>
                  <a:gd name="T29" fmla="*/ 91 h 971"/>
                  <a:gd name="T30" fmla="*/ 764 w 1551"/>
                  <a:gd name="T31" fmla="*/ 153 h 971"/>
                  <a:gd name="T32" fmla="*/ 752 w 1551"/>
                  <a:gd name="T33" fmla="*/ 250 h 971"/>
                  <a:gd name="T34" fmla="*/ 752 w 1551"/>
                  <a:gd name="T35" fmla="*/ 332 h 971"/>
                  <a:gd name="T36" fmla="*/ 764 w 1551"/>
                  <a:gd name="T37" fmla="*/ 429 h 971"/>
                  <a:gd name="T38" fmla="*/ 720 w 1551"/>
                  <a:gd name="T39" fmla="*/ 461 h 971"/>
                  <a:gd name="T40" fmla="*/ 637 w 1551"/>
                  <a:gd name="T41" fmla="*/ 461 h 971"/>
                  <a:gd name="T42" fmla="*/ 540 w 1551"/>
                  <a:gd name="T43" fmla="*/ 473 h 971"/>
                  <a:gd name="T44" fmla="*/ 478 w 1551"/>
                  <a:gd name="T45" fmla="*/ 473 h 971"/>
                  <a:gd name="T46" fmla="*/ 381 w 1551"/>
                  <a:gd name="T47" fmla="*/ 461 h 971"/>
                  <a:gd name="T48" fmla="*/ 299 w 1551"/>
                  <a:gd name="T49" fmla="*/ 461 h 971"/>
                  <a:gd name="T50" fmla="*/ 202 w 1551"/>
                  <a:gd name="T51" fmla="*/ 473 h 971"/>
                  <a:gd name="T52" fmla="*/ 138 w 1551"/>
                  <a:gd name="T53" fmla="*/ 473 h 971"/>
                  <a:gd name="T54" fmla="*/ 41 w 1551"/>
                  <a:gd name="T55" fmla="*/ 461 h 971"/>
                  <a:gd name="T56" fmla="*/ 56 w 1551"/>
                  <a:gd name="T57" fmla="*/ 498 h 971"/>
                  <a:gd name="T58" fmla="*/ 153 w 1551"/>
                  <a:gd name="T59" fmla="*/ 510 h 971"/>
                  <a:gd name="T60" fmla="*/ 235 w 1551"/>
                  <a:gd name="T61" fmla="*/ 510 h 971"/>
                  <a:gd name="T62" fmla="*/ 332 w 1551"/>
                  <a:gd name="T63" fmla="*/ 498 h 971"/>
                  <a:gd name="T64" fmla="*/ 396 w 1551"/>
                  <a:gd name="T65" fmla="*/ 498 h 971"/>
                  <a:gd name="T66" fmla="*/ 493 w 1551"/>
                  <a:gd name="T67" fmla="*/ 510 h 971"/>
                  <a:gd name="T68" fmla="*/ 575 w 1551"/>
                  <a:gd name="T69" fmla="*/ 510 h 971"/>
                  <a:gd name="T70" fmla="*/ 672 w 1551"/>
                  <a:gd name="T71" fmla="*/ 498 h 971"/>
                  <a:gd name="T72" fmla="*/ 734 w 1551"/>
                  <a:gd name="T73" fmla="*/ 498 h 971"/>
                  <a:gd name="T74" fmla="*/ 752 w 1551"/>
                  <a:gd name="T75" fmla="*/ 575 h 971"/>
                  <a:gd name="T76" fmla="*/ 764 w 1551"/>
                  <a:gd name="T77" fmla="*/ 672 h 971"/>
                  <a:gd name="T78" fmla="*/ 764 w 1551"/>
                  <a:gd name="T79" fmla="*/ 736 h 971"/>
                  <a:gd name="T80" fmla="*/ 752 w 1551"/>
                  <a:gd name="T81" fmla="*/ 833 h 971"/>
                  <a:gd name="T82" fmla="*/ 752 w 1551"/>
                  <a:gd name="T83" fmla="*/ 915 h 971"/>
                  <a:gd name="T84" fmla="*/ 801 w 1551"/>
                  <a:gd name="T85" fmla="*/ 915 h 971"/>
                  <a:gd name="T86" fmla="*/ 801 w 1551"/>
                  <a:gd name="T87" fmla="*/ 833 h 971"/>
                  <a:gd name="T88" fmla="*/ 789 w 1551"/>
                  <a:gd name="T89" fmla="*/ 736 h 971"/>
                  <a:gd name="T90" fmla="*/ 789 w 1551"/>
                  <a:gd name="T91" fmla="*/ 672 h 971"/>
                  <a:gd name="T92" fmla="*/ 801 w 1551"/>
                  <a:gd name="T93" fmla="*/ 575 h 971"/>
                  <a:gd name="T94" fmla="*/ 817 w 1551"/>
                  <a:gd name="T95" fmla="*/ 498 h 971"/>
                  <a:gd name="T96" fmla="*/ 880 w 1551"/>
                  <a:gd name="T97" fmla="*/ 498 h 971"/>
                  <a:gd name="T98" fmla="*/ 977 w 1551"/>
                  <a:gd name="T99" fmla="*/ 510 h 971"/>
                  <a:gd name="T100" fmla="*/ 1060 w 1551"/>
                  <a:gd name="T101" fmla="*/ 510 h 971"/>
                  <a:gd name="T102" fmla="*/ 1155 w 1551"/>
                  <a:gd name="T103" fmla="*/ 498 h 971"/>
                  <a:gd name="T104" fmla="*/ 1219 w 1551"/>
                  <a:gd name="T105" fmla="*/ 498 h 971"/>
                  <a:gd name="T106" fmla="*/ 1316 w 1551"/>
                  <a:gd name="T107" fmla="*/ 510 h 971"/>
                  <a:gd name="T108" fmla="*/ 1398 w 1551"/>
                  <a:gd name="T109" fmla="*/ 510 h 971"/>
                  <a:gd name="T110" fmla="*/ 1495 w 1551"/>
                  <a:gd name="T111" fmla="*/ 49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1" h="971">
                    <a:moveTo>
                      <a:pt x="1551" y="473"/>
                    </a:moveTo>
                    <a:lnTo>
                      <a:pt x="1510" y="473"/>
                    </a:lnTo>
                    <a:lnTo>
                      <a:pt x="1510" y="461"/>
                    </a:lnTo>
                    <a:lnTo>
                      <a:pt x="1495" y="461"/>
                    </a:lnTo>
                    <a:lnTo>
                      <a:pt x="1495" y="473"/>
                    </a:lnTo>
                    <a:lnTo>
                      <a:pt x="1462" y="473"/>
                    </a:lnTo>
                    <a:lnTo>
                      <a:pt x="1462" y="461"/>
                    </a:lnTo>
                    <a:lnTo>
                      <a:pt x="1447" y="461"/>
                    </a:lnTo>
                    <a:lnTo>
                      <a:pt x="1447" y="473"/>
                    </a:lnTo>
                    <a:lnTo>
                      <a:pt x="1413" y="473"/>
                    </a:lnTo>
                    <a:lnTo>
                      <a:pt x="1413" y="461"/>
                    </a:lnTo>
                    <a:lnTo>
                      <a:pt x="1398" y="461"/>
                    </a:lnTo>
                    <a:lnTo>
                      <a:pt x="1398" y="473"/>
                    </a:lnTo>
                    <a:lnTo>
                      <a:pt x="1365" y="473"/>
                    </a:lnTo>
                    <a:lnTo>
                      <a:pt x="1365" y="461"/>
                    </a:lnTo>
                    <a:lnTo>
                      <a:pt x="1350" y="461"/>
                    </a:lnTo>
                    <a:lnTo>
                      <a:pt x="1350" y="473"/>
                    </a:lnTo>
                    <a:lnTo>
                      <a:pt x="1316" y="473"/>
                    </a:lnTo>
                    <a:lnTo>
                      <a:pt x="1316" y="461"/>
                    </a:lnTo>
                    <a:lnTo>
                      <a:pt x="1301" y="461"/>
                    </a:lnTo>
                    <a:lnTo>
                      <a:pt x="1301" y="473"/>
                    </a:lnTo>
                    <a:lnTo>
                      <a:pt x="1268" y="473"/>
                    </a:lnTo>
                    <a:lnTo>
                      <a:pt x="1268" y="461"/>
                    </a:lnTo>
                    <a:lnTo>
                      <a:pt x="1253" y="461"/>
                    </a:lnTo>
                    <a:lnTo>
                      <a:pt x="1253" y="473"/>
                    </a:lnTo>
                    <a:lnTo>
                      <a:pt x="1219" y="473"/>
                    </a:lnTo>
                    <a:lnTo>
                      <a:pt x="1219" y="461"/>
                    </a:lnTo>
                    <a:lnTo>
                      <a:pt x="1204" y="461"/>
                    </a:lnTo>
                    <a:lnTo>
                      <a:pt x="1204" y="473"/>
                    </a:lnTo>
                    <a:lnTo>
                      <a:pt x="1171" y="473"/>
                    </a:lnTo>
                    <a:lnTo>
                      <a:pt x="1171" y="461"/>
                    </a:lnTo>
                    <a:lnTo>
                      <a:pt x="1155" y="461"/>
                    </a:lnTo>
                    <a:lnTo>
                      <a:pt x="1155" y="473"/>
                    </a:lnTo>
                    <a:lnTo>
                      <a:pt x="1122" y="473"/>
                    </a:lnTo>
                    <a:lnTo>
                      <a:pt x="1122" y="461"/>
                    </a:lnTo>
                    <a:lnTo>
                      <a:pt x="1107" y="461"/>
                    </a:lnTo>
                    <a:lnTo>
                      <a:pt x="1107" y="473"/>
                    </a:lnTo>
                    <a:lnTo>
                      <a:pt x="1074" y="473"/>
                    </a:lnTo>
                    <a:lnTo>
                      <a:pt x="1074" y="461"/>
                    </a:lnTo>
                    <a:lnTo>
                      <a:pt x="1060" y="461"/>
                    </a:lnTo>
                    <a:lnTo>
                      <a:pt x="1060" y="473"/>
                    </a:lnTo>
                    <a:lnTo>
                      <a:pt x="1025" y="473"/>
                    </a:lnTo>
                    <a:lnTo>
                      <a:pt x="1025" y="461"/>
                    </a:lnTo>
                    <a:lnTo>
                      <a:pt x="1011" y="461"/>
                    </a:lnTo>
                    <a:lnTo>
                      <a:pt x="1011" y="473"/>
                    </a:lnTo>
                    <a:lnTo>
                      <a:pt x="977" y="473"/>
                    </a:lnTo>
                    <a:lnTo>
                      <a:pt x="977" y="461"/>
                    </a:lnTo>
                    <a:lnTo>
                      <a:pt x="963" y="461"/>
                    </a:lnTo>
                    <a:lnTo>
                      <a:pt x="963" y="473"/>
                    </a:lnTo>
                    <a:lnTo>
                      <a:pt x="928" y="473"/>
                    </a:lnTo>
                    <a:lnTo>
                      <a:pt x="928" y="461"/>
                    </a:lnTo>
                    <a:lnTo>
                      <a:pt x="914" y="461"/>
                    </a:lnTo>
                    <a:lnTo>
                      <a:pt x="914" y="473"/>
                    </a:lnTo>
                    <a:lnTo>
                      <a:pt x="880" y="473"/>
                    </a:lnTo>
                    <a:lnTo>
                      <a:pt x="880" y="461"/>
                    </a:lnTo>
                    <a:lnTo>
                      <a:pt x="866" y="461"/>
                    </a:lnTo>
                    <a:lnTo>
                      <a:pt x="866" y="473"/>
                    </a:lnTo>
                    <a:lnTo>
                      <a:pt x="831" y="473"/>
                    </a:lnTo>
                    <a:lnTo>
                      <a:pt x="831" y="461"/>
                    </a:lnTo>
                    <a:lnTo>
                      <a:pt x="817" y="461"/>
                    </a:lnTo>
                    <a:lnTo>
                      <a:pt x="817" y="473"/>
                    </a:lnTo>
                    <a:lnTo>
                      <a:pt x="789" y="473"/>
                    </a:lnTo>
                    <a:lnTo>
                      <a:pt x="789" y="444"/>
                    </a:lnTo>
                    <a:lnTo>
                      <a:pt x="801" y="444"/>
                    </a:lnTo>
                    <a:lnTo>
                      <a:pt x="801" y="429"/>
                    </a:lnTo>
                    <a:lnTo>
                      <a:pt x="789" y="429"/>
                    </a:lnTo>
                    <a:lnTo>
                      <a:pt x="789" y="396"/>
                    </a:lnTo>
                    <a:lnTo>
                      <a:pt x="801" y="396"/>
                    </a:lnTo>
                    <a:lnTo>
                      <a:pt x="801" y="381"/>
                    </a:lnTo>
                    <a:lnTo>
                      <a:pt x="789" y="381"/>
                    </a:lnTo>
                    <a:lnTo>
                      <a:pt x="789" y="347"/>
                    </a:lnTo>
                    <a:lnTo>
                      <a:pt x="801" y="347"/>
                    </a:lnTo>
                    <a:lnTo>
                      <a:pt x="801" y="332"/>
                    </a:lnTo>
                    <a:lnTo>
                      <a:pt x="789" y="332"/>
                    </a:lnTo>
                    <a:lnTo>
                      <a:pt x="789" y="299"/>
                    </a:lnTo>
                    <a:lnTo>
                      <a:pt x="801" y="299"/>
                    </a:lnTo>
                    <a:lnTo>
                      <a:pt x="801" y="284"/>
                    </a:lnTo>
                    <a:lnTo>
                      <a:pt x="789" y="284"/>
                    </a:lnTo>
                    <a:lnTo>
                      <a:pt x="789" y="250"/>
                    </a:lnTo>
                    <a:lnTo>
                      <a:pt x="801" y="250"/>
                    </a:lnTo>
                    <a:lnTo>
                      <a:pt x="801" y="235"/>
                    </a:lnTo>
                    <a:lnTo>
                      <a:pt x="789" y="235"/>
                    </a:lnTo>
                    <a:lnTo>
                      <a:pt x="789" y="202"/>
                    </a:lnTo>
                    <a:lnTo>
                      <a:pt x="801" y="202"/>
                    </a:lnTo>
                    <a:lnTo>
                      <a:pt x="801" y="186"/>
                    </a:lnTo>
                    <a:lnTo>
                      <a:pt x="789" y="186"/>
                    </a:lnTo>
                    <a:lnTo>
                      <a:pt x="789" y="153"/>
                    </a:lnTo>
                    <a:lnTo>
                      <a:pt x="801" y="153"/>
                    </a:lnTo>
                    <a:lnTo>
                      <a:pt x="801" y="139"/>
                    </a:lnTo>
                    <a:lnTo>
                      <a:pt x="789" y="139"/>
                    </a:lnTo>
                    <a:lnTo>
                      <a:pt x="789" y="105"/>
                    </a:lnTo>
                    <a:lnTo>
                      <a:pt x="801" y="105"/>
                    </a:lnTo>
                    <a:lnTo>
                      <a:pt x="801" y="91"/>
                    </a:lnTo>
                    <a:lnTo>
                      <a:pt x="789" y="91"/>
                    </a:lnTo>
                    <a:lnTo>
                      <a:pt x="789" y="56"/>
                    </a:lnTo>
                    <a:lnTo>
                      <a:pt x="801" y="56"/>
                    </a:lnTo>
                    <a:lnTo>
                      <a:pt x="801" y="42"/>
                    </a:lnTo>
                    <a:lnTo>
                      <a:pt x="789" y="42"/>
                    </a:lnTo>
                    <a:lnTo>
                      <a:pt x="789" y="0"/>
                    </a:lnTo>
                    <a:lnTo>
                      <a:pt x="764" y="0"/>
                    </a:lnTo>
                    <a:lnTo>
                      <a:pt x="764" y="42"/>
                    </a:lnTo>
                    <a:lnTo>
                      <a:pt x="752" y="42"/>
                    </a:lnTo>
                    <a:lnTo>
                      <a:pt x="752" y="56"/>
                    </a:lnTo>
                    <a:lnTo>
                      <a:pt x="764" y="56"/>
                    </a:lnTo>
                    <a:lnTo>
                      <a:pt x="764" y="91"/>
                    </a:lnTo>
                    <a:lnTo>
                      <a:pt x="752" y="91"/>
                    </a:lnTo>
                    <a:lnTo>
                      <a:pt x="752" y="105"/>
                    </a:lnTo>
                    <a:lnTo>
                      <a:pt x="764" y="105"/>
                    </a:lnTo>
                    <a:lnTo>
                      <a:pt x="764" y="139"/>
                    </a:lnTo>
                    <a:lnTo>
                      <a:pt x="752" y="139"/>
                    </a:lnTo>
                    <a:lnTo>
                      <a:pt x="752" y="153"/>
                    </a:lnTo>
                    <a:lnTo>
                      <a:pt x="764" y="153"/>
                    </a:lnTo>
                    <a:lnTo>
                      <a:pt x="764" y="186"/>
                    </a:lnTo>
                    <a:lnTo>
                      <a:pt x="752" y="186"/>
                    </a:lnTo>
                    <a:lnTo>
                      <a:pt x="752" y="202"/>
                    </a:lnTo>
                    <a:lnTo>
                      <a:pt x="764" y="202"/>
                    </a:lnTo>
                    <a:lnTo>
                      <a:pt x="764" y="235"/>
                    </a:lnTo>
                    <a:lnTo>
                      <a:pt x="752" y="235"/>
                    </a:lnTo>
                    <a:lnTo>
                      <a:pt x="752" y="250"/>
                    </a:lnTo>
                    <a:lnTo>
                      <a:pt x="764" y="250"/>
                    </a:lnTo>
                    <a:lnTo>
                      <a:pt x="764" y="284"/>
                    </a:lnTo>
                    <a:lnTo>
                      <a:pt x="752" y="284"/>
                    </a:lnTo>
                    <a:lnTo>
                      <a:pt x="752" y="299"/>
                    </a:lnTo>
                    <a:lnTo>
                      <a:pt x="764" y="299"/>
                    </a:lnTo>
                    <a:lnTo>
                      <a:pt x="764" y="332"/>
                    </a:lnTo>
                    <a:lnTo>
                      <a:pt x="752" y="332"/>
                    </a:lnTo>
                    <a:lnTo>
                      <a:pt x="752" y="347"/>
                    </a:lnTo>
                    <a:lnTo>
                      <a:pt x="764" y="347"/>
                    </a:lnTo>
                    <a:lnTo>
                      <a:pt x="764" y="381"/>
                    </a:lnTo>
                    <a:lnTo>
                      <a:pt x="752" y="381"/>
                    </a:lnTo>
                    <a:lnTo>
                      <a:pt x="752" y="396"/>
                    </a:lnTo>
                    <a:lnTo>
                      <a:pt x="764" y="396"/>
                    </a:lnTo>
                    <a:lnTo>
                      <a:pt x="764" y="429"/>
                    </a:lnTo>
                    <a:lnTo>
                      <a:pt x="752" y="429"/>
                    </a:lnTo>
                    <a:lnTo>
                      <a:pt x="752" y="444"/>
                    </a:lnTo>
                    <a:lnTo>
                      <a:pt x="764" y="444"/>
                    </a:lnTo>
                    <a:lnTo>
                      <a:pt x="764" y="473"/>
                    </a:lnTo>
                    <a:lnTo>
                      <a:pt x="734" y="473"/>
                    </a:lnTo>
                    <a:lnTo>
                      <a:pt x="734" y="461"/>
                    </a:lnTo>
                    <a:lnTo>
                      <a:pt x="720" y="461"/>
                    </a:lnTo>
                    <a:lnTo>
                      <a:pt x="720" y="473"/>
                    </a:lnTo>
                    <a:lnTo>
                      <a:pt x="685" y="473"/>
                    </a:lnTo>
                    <a:lnTo>
                      <a:pt x="685" y="461"/>
                    </a:lnTo>
                    <a:lnTo>
                      <a:pt x="672" y="461"/>
                    </a:lnTo>
                    <a:lnTo>
                      <a:pt x="672" y="473"/>
                    </a:lnTo>
                    <a:lnTo>
                      <a:pt x="637" y="473"/>
                    </a:lnTo>
                    <a:lnTo>
                      <a:pt x="637" y="461"/>
                    </a:lnTo>
                    <a:lnTo>
                      <a:pt x="623" y="461"/>
                    </a:lnTo>
                    <a:lnTo>
                      <a:pt x="623" y="473"/>
                    </a:lnTo>
                    <a:lnTo>
                      <a:pt x="588" y="473"/>
                    </a:lnTo>
                    <a:lnTo>
                      <a:pt x="588" y="461"/>
                    </a:lnTo>
                    <a:lnTo>
                      <a:pt x="575" y="461"/>
                    </a:lnTo>
                    <a:lnTo>
                      <a:pt x="575" y="473"/>
                    </a:lnTo>
                    <a:lnTo>
                      <a:pt x="540" y="473"/>
                    </a:lnTo>
                    <a:lnTo>
                      <a:pt x="540" y="461"/>
                    </a:lnTo>
                    <a:lnTo>
                      <a:pt x="526" y="461"/>
                    </a:lnTo>
                    <a:lnTo>
                      <a:pt x="526" y="473"/>
                    </a:lnTo>
                    <a:lnTo>
                      <a:pt x="493" y="473"/>
                    </a:lnTo>
                    <a:lnTo>
                      <a:pt x="493" y="461"/>
                    </a:lnTo>
                    <a:lnTo>
                      <a:pt x="478" y="461"/>
                    </a:lnTo>
                    <a:lnTo>
                      <a:pt x="478" y="473"/>
                    </a:lnTo>
                    <a:lnTo>
                      <a:pt x="444" y="473"/>
                    </a:lnTo>
                    <a:lnTo>
                      <a:pt x="444" y="461"/>
                    </a:lnTo>
                    <a:lnTo>
                      <a:pt x="429" y="461"/>
                    </a:lnTo>
                    <a:lnTo>
                      <a:pt x="429" y="473"/>
                    </a:lnTo>
                    <a:lnTo>
                      <a:pt x="396" y="473"/>
                    </a:lnTo>
                    <a:lnTo>
                      <a:pt x="396" y="461"/>
                    </a:lnTo>
                    <a:lnTo>
                      <a:pt x="381" y="461"/>
                    </a:lnTo>
                    <a:lnTo>
                      <a:pt x="381" y="473"/>
                    </a:lnTo>
                    <a:lnTo>
                      <a:pt x="347" y="473"/>
                    </a:lnTo>
                    <a:lnTo>
                      <a:pt x="347" y="461"/>
                    </a:lnTo>
                    <a:lnTo>
                      <a:pt x="332" y="461"/>
                    </a:lnTo>
                    <a:lnTo>
                      <a:pt x="332" y="473"/>
                    </a:lnTo>
                    <a:lnTo>
                      <a:pt x="299" y="473"/>
                    </a:lnTo>
                    <a:lnTo>
                      <a:pt x="299" y="461"/>
                    </a:lnTo>
                    <a:lnTo>
                      <a:pt x="284" y="461"/>
                    </a:lnTo>
                    <a:lnTo>
                      <a:pt x="284" y="473"/>
                    </a:lnTo>
                    <a:lnTo>
                      <a:pt x="250" y="473"/>
                    </a:lnTo>
                    <a:lnTo>
                      <a:pt x="250" y="461"/>
                    </a:lnTo>
                    <a:lnTo>
                      <a:pt x="235" y="461"/>
                    </a:lnTo>
                    <a:lnTo>
                      <a:pt x="235" y="473"/>
                    </a:lnTo>
                    <a:lnTo>
                      <a:pt x="202" y="473"/>
                    </a:lnTo>
                    <a:lnTo>
                      <a:pt x="202" y="461"/>
                    </a:lnTo>
                    <a:lnTo>
                      <a:pt x="187" y="461"/>
                    </a:lnTo>
                    <a:lnTo>
                      <a:pt x="187" y="473"/>
                    </a:lnTo>
                    <a:lnTo>
                      <a:pt x="153" y="473"/>
                    </a:lnTo>
                    <a:lnTo>
                      <a:pt x="153" y="461"/>
                    </a:lnTo>
                    <a:lnTo>
                      <a:pt x="138" y="461"/>
                    </a:lnTo>
                    <a:lnTo>
                      <a:pt x="138" y="473"/>
                    </a:lnTo>
                    <a:lnTo>
                      <a:pt x="105" y="473"/>
                    </a:lnTo>
                    <a:lnTo>
                      <a:pt x="105" y="461"/>
                    </a:lnTo>
                    <a:lnTo>
                      <a:pt x="90" y="461"/>
                    </a:lnTo>
                    <a:lnTo>
                      <a:pt x="90" y="473"/>
                    </a:lnTo>
                    <a:lnTo>
                      <a:pt x="56" y="473"/>
                    </a:lnTo>
                    <a:lnTo>
                      <a:pt x="56" y="461"/>
                    </a:lnTo>
                    <a:lnTo>
                      <a:pt x="41" y="461"/>
                    </a:lnTo>
                    <a:lnTo>
                      <a:pt x="41" y="473"/>
                    </a:lnTo>
                    <a:lnTo>
                      <a:pt x="0" y="473"/>
                    </a:lnTo>
                    <a:lnTo>
                      <a:pt x="0" y="498"/>
                    </a:lnTo>
                    <a:lnTo>
                      <a:pt x="41" y="498"/>
                    </a:lnTo>
                    <a:lnTo>
                      <a:pt x="41" y="510"/>
                    </a:lnTo>
                    <a:lnTo>
                      <a:pt x="56" y="510"/>
                    </a:lnTo>
                    <a:lnTo>
                      <a:pt x="56" y="498"/>
                    </a:lnTo>
                    <a:lnTo>
                      <a:pt x="90" y="498"/>
                    </a:lnTo>
                    <a:lnTo>
                      <a:pt x="90" y="510"/>
                    </a:lnTo>
                    <a:lnTo>
                      <a:pt x="105" y="510"/>
                    </a:lnTo>
                    <a:lnTo>
                      <a:pt x="105" y="498"/>
                    </a:lnTo>
                    <a:lnTo>
                      <a:pt x="138" y="498"/>
                    </a:lnTo>
                    <a:lnTo>
                      <a:pt x="138" y="510"/>
                    </a:lnTo>
                    <a:lnTo>
                      <a:pt x="153" y="510"/>
                    </a:lnTo>
                    <a:lnTo>
                      <a:pt x="153" y="498"/>
                    </a:lnTo>
                    <a:lnTo>
                      <a:pt x="187" y="498"/>
                    </a:lnTo>
                    <a:lnTo>
                      <a:pt x="187" y="510"/>
                    </a:lnTo>
                    <a:lnTo>
                      <a:pt x="202" y="510"/>
                    </a:lnTo>
                    <a:lnTo>
                      <a:pt x="202" y="498"/>
                    </a:lnTo>
                    <a:lnTo>
                      <a:pt x="235" y="498"/>
                    </a:lnTo>
                    <a:lnTo>
                      <a:pt x="235" y="510"/>
                    </a:lnTo>
                    <a:lnTo>
                      <a:pt x="250" y="510"/>
                    </a:lnTo>
                    <a:lnTo>
                      <a:pt x="250" y="498"/>
                    </a:lnTo>
                    <a:lnTo>
                      <a:pt x="284" y="498"/>
                    </a:lnTo>
                    <a:lnTo>
                      <a:pt x="284" y="510"/>
                    </a:lnTo>
                    <a:lnTo>
                      <a:pt x="299" y="510"/>
                    </a:lnTo>
                    <a:lnTo>
                      <a:pt x="299" y="498"/>
                    </a:lnTo>
                    <a:lnTo>
                      <a:pt x="332" y="498"/>
                    </a:lnTo>
                    <a:lnTo>
                      <a:pt x="332" y="510"/>
                    </a:lnTo>
                    <a:lnTo>
                      <a:pt x="347" y="510"/>
                    </a:lnTo>
                    <a:lnTo>
                      <a:pt x="347" y="498"/>
                    </a:lnTo>
                    <a:lnTo>
                      <a:pt x="381" y="498"/>
                    </a:lnTo>
                    <a:lnTo>
                      <a:pt x="381" y="510"/>
                    </a:lnTo>
                    <a:lnTo>
                      <a:pt x="396" y="510"/>
                    </a:lnTo>
                    <a:lnTo>
                      <a:pt x="396" y="498"/>
                    </a:lnTo>
                    <a:lnTo>
                      <a:pt x="429" y="498"/>
                    </a:lnTo>
                    <a:lnTo>
                      <a:pt x="429" y="510"/>
                    </a:lnTo>
                    <a:lnTo>
                      <a:pt x="444" y="510"/>
                    </a:lnTo>
                    <a:lnTo>
                      <a:pt x="444" y="498"/>
                    </a:lnTo>
                    <a:lnTo>
                      <a:pt x="478" y="498"/>
                    </a:lnTo>
                    <a:lnTo>
                      <a:pt x="478" y="510"/>
                    </a:lnTo>
                    <a:lnTo>
                      <a:pt x="493" y="510"/>
                    </a:lnTo>
                    <a:lnTo>
                      <a:pt x="493" y="498"/>
                    </a:lnTo>
                    <a:lnTo>
                      <a:pt x="526" y="498"/>
                    </a:lnTo>
                    <a:lnTo>
                      <a:pt x="526" y="510"/>
                    </a:lnTo>
                    <a:lnTo>
                      <a:pt x="540" y="510"/>
                    </a:lnTo>
                    <a:lnTo>
                      <a:pt x="540" y="498"/>
                    </a:lnTo>
                    <a:lnTo>
                      <a:pt x="575" y="498"/>
                    </a:lnTo>
                    <a:lnTo>
                      <a:pt x="575" y="510"/>
                    </a:lnTo>
                    <a:lnTo>
                      <a:pt x="588" y="510"/>
                    </a:lnTo>
                    <a:lnTo>
                      <a:pt x="588" y="498"/>
                    </a:lnTo>
                    <a:lnTo>
                      <a:pt x="623" y="498"/>
                    </a:lnTo>
                    <a:lnTo>
                      <a:pt x="623" y="510"/>
                    </a:lnTo>
                    <a:lnTo>
                      <a:pt x="637" y="510"/>
                    </a:lnTo>
                    <a:lnTo>
                      <a:pt x="637" y="498"/>
                    </a:lnTo>
                    <a:lnTo>
                      <a:pt x="672" y="498"/>
                    </a:lnTo>
                    <a:lnTo>
                      <a:pt x="672" y="510"/>
                    </a:lnTo>
                    <a:lnTo>
                      <a:pt x="685" y="510"/>
                    </a:lnTo>
                    <a:lnTo>
                      <a:pt x="685" y="498"/>
                    </a:lnTo>
                    <a:lnTo>
                      <a:pt x="720" y="498"/>
                    </a:lnTo>
                    <a:lnTo>
                      <a:pt x="720" y="510"/>
                    </a:lnTo>
                    <a:lnTo>
                      <a:pt x="734" y="510"/>
                    </a:lnTo>
                    <a:lnTo>
                      <a:pt x="734" y="498"/>
                    </a:lnTo>
                    <a:lnTo>
                      <a:pt x="764" y="498"/>
                    </a:lnTo>
                    <a:lnTo>
                      <a:pt x="764" y="526"/>
                    </a:lnTo>
                    <a:lnTo>
                      <a:pt x="752" y="526"/>
                    </a:lnTo>
                    <a:lnTo>
                      <a:pt x="752" y="542"/>
                    </a:lnTo>
                    <a:lnTo>
                      <a:pt x="764" y="542"/>
                    </a:lnTo>
                    <a:lnTo>
                      <a:pt x="764" y="575"/>
                    </a:lnTo>
                    <a:lnTo>
                      <a:pt x="752" y="575"/>
                    </a:lnTo>
                    <a:lnTo>
                      <a:pt x="752" y="590"/>
                    </a:lnTo>
                    <a:lnTo>
                      <a:pt x="764" y="590"/>
                    </a:lnTo>
                    <a:lnTo>
                      <a:pt x="764" y="624"/>
                    </a:lnTo>
                    <a:lnTo>
                      <a:pt x="752" y="624"/>
                    </a:lnTo>
                    <a:lnTo>
                      <a:pt x="752" y="639"/>
                    </a:lnTo>
                    <a:lnTo>
                      <a:pt x="764" y="639"/>
                    </a:lnTo>
                    <a:lnTo>
                      <a:pt x="764" y="672"/>
                    </a:lnTo>
                    <a:lnTo>
                      <a:pt x="752" y="672"/>
                    </a:lnTo>
                    <a:lnTo>
                      <a:pt x="752" y="687"/>
                    </a:lnTo>
                    <a:lnTo>
                      <a:pt x="764" y="687"/>
                    </a:lnTo>
                    <a:lnTo>
                      <a:pt x="764" y="721"/>
                    </a:lnTo>
                    <a:lnTo>
                      <a:pt x="752" y="721"/>
                    </a:lnTo>
                    <a:lnTo>
                      <a:pt x="752" y="736"/>
                    </a:lnTo>
                    <a:lnTo>
                      <a:pt x="764" y="736"/>
                    </a:lnTo>
                    <a:lnTo>
                      <a:pt x="764" y="769"/>
                    </a:lnTo>
                    <a:lnTo>
                      <a:pt x="752" y="769"/>
                    </a:lnTo>
                    <a:lnTo>
                      <a:pt x="752" y="784"/>
                    </a:lnTo>
                    <a:lnTo>
                      <a:pt x="764" y="784"/>
                    </a:lnTo>
                    <a:lnTo>
                      <a:pt x="764" y="818"/>
                    </a:lnTo>
                    <a:lnTo>
                      <a:pt x="752" y="818"/>
                    </a:lnTo>
                    <a:lnTo>
                      <a:pt x="752" y="833"/>
                    </a:lnTo>
                    <a:lnTo>
                      <a:pt x="764" y="833"/>
                    </a:lnTo>
                    <a:lnTo>
                      <a:pt x="764" y="866"/>
                    </a:lnTo>
                    <a:lnTo>
                      <a:pt x="752" y="866"/>
                    </a:lnTo>
                    <a:lnTo>
                      <a:pt x="752" y="882"/>
                    </a:lnTo>
                    <a:lnTo>
                      <a:pt x="764" y="882"/>
                    </a:lnTo>
                    <a:lnTo>
                      <a:pt x="764" y="915"/>
                    </a:lnTo>
                    <a:lnTo>
                      <a:pt x="752" y="915"/>
                    </a:lnTo>
                    <a:lnTo>
                      <a:pt x="752" y="930"/>
                    </a:lnTo>
                    <a:lnTo>
                      <a:pt x="764" y="930"/>
                    </a:lnTo>
                    <a:lnTo>
                      <a:pt x="764" y="971"/>
                    </a:lnTo>
                    <a:lnTo>
                      <a:pt x="789" y="971"/>
                    </a:lnTo>
                    <a:lnTo>
                      <a:pt x="789" y="930"/>
                    </a:lnTo>
                    <a:lnTo>
                      <a:pt x="801" y="930"/>
                    </a:lnTo>
                    <a:lnTo>
                      <a:pt x="801" y="915"/>
                    </a:lnTo>
                    <a:lnTo>
                      <a:pt x="789" y="915"/>
                    </a:lnTo>
                    <a:lnTo>
                      <a:pt x="789" y="882"/>
                    </a:lnTo>
                    <a:lnTo>
                      <a:pt x="801" y="882"/>
                    </a:lnTo>
                    <a:lnTo>
                      <a:pt x="801" y="866"/>
                    </a:lnTo>
                    <a:lnTo>
                      <a:pt x="789" y="866"/>
                    </a:lnTo>
                    <a:lnTo>
                      <a:pt x="789" y="833"/>
                    </a:lnTo>
                    <a:lnTo>
                      <a:pt x="801" y="833"/>
                    </a:lnTo>
                    <a:lnTo>
                      <a:pt x="801" y="818"/>
                    </a:lnTo>
                    <a:lnTo>
                      <a:pt x="789" y="818"/>
                    </a:lnTo>
                    <a:lnTo>
                      <a:pt x="789" y="784"/>
                    </a:lnTo>
                    <a:lnTo>
                      <a:pt x="801" y="784"/>
                    </a:lnTo>
                    <a:lnTo>
                      <a:pt x="801" y="769"/>
                    </a:lnTo>
                    <a:lnTo>
                      <a:pt x="789" y="769"/>
                    </a:lnTo>
                    <a:lnTo>
                      <a:pt x="789" y="736"/>
                    </a:lnTo>
                    <a:lnTo>
                      <a:pt x="801" y="736"/>
                    </a:lnTo>
                    <a:lnTo>
                      <a:pt x="801" y="721"/>
                    </a:lnTo>
                    <a:lnTo>
                      <a:pt x="789" y="721"/>
                    </a:lnTo>
                    <a:lnTo>
                      <a:pt x="789" y="687"/>
                    </a:lnTo>
                    <a:lnTo>
                      <a:pt x="801" y="687"/>
                    </a:lnTo>
                    <a:lnTo>
                      <a:pt x="801" y="672"/>
                    </a:lnTo>
                    <a:lnTo>
                      <a:pt x="789" y="672"/>
                    </a:lnTo>
                    <a:lnTo>
                      <a:pt x="789" y="639"/>
                    </a:lnTo>
                    <a:lnTo>
                      <a:pt x="801" y="639"/>
                    </a:lnTo>
                    <a:lnTo>
                      <a:pt x="801" y="624"/>
                    </a:lnTo>
                    <a:lnTo>
                      <a:pt x="789" y="624"/>
                    </a:lnTo>
                    <a:lnTo>
                      <a:pt x="789" y="590"/>
                    </a:lnTo>
                    <a:lnTo>
                      <a:pt x="801" y="590"/>
                    </a:lnTo>
                    <a:lnTo>
                      <a:pt x="801" y="575"/>
                    </a:lnTo>
                    <a:lnTo>
                      <a:pt x="789" y="575"/>
                    </a:lnTo>
                    <a:lnTo>
                      <a:pt x="789" y="542"/>
                    </a:lnTo>
                    <a:lnTo>
                      <a:pt x="801" y="542"/>
                    </a:lnTo>
                    <a:lnTo>
                      <a:pt x="801" y="526"/>
                    </a:lnTo>
                    <a:lnTo>
                      <a:pt x="789" y="526"/>
                    </a:lnTo>
                    <a:lnTo>
                      <a:pt x="789" y="498"/>
                    </a:lnTo>
                    <a:lnTo>
                      <a:pt x="817" y="498"/>
                    </a:lnTo>
                    <a:lnTo>
                      <a:pt x="817" y="510"/>
                    </a:lnTo>
                    <a:lnTo>
                      <a:pt x="831" y="510"/>
                    </a:lnTo>
                    <a:lnTo>
                      <a:pt x="831" y="498"/>
                    </a:lnTo>
                    <a:lnTo>
                      <a:pt x="866" y="498"/>
                    </a:lnTo>
                    <a:lnTo>
                      <a:pt x="866" y="510"/>
                    </a:lnTo>
                    <a:lnTo>
                      <a:pt x="880" y="510"/>
                    </a:lnTo>
                    <a:lnTo>
                      <a:pt x="880" y="498"/>
                    </a:lnTo>
                    <a:lnTo>
                      <a:pt x="914" y="498"/>
                    </a:lnTo>
                    <a:lnTo>
                      <a:pt x="914" y="510"/>
                    </a:lnTo>
                    <a:lnTo>
                      <a:pt x="928" y="510"/>
                    </a:lnTo>
                    <a:lnTo>
                      <a:pt x="928" y="498"/>
                    </a:lnTo>
                    <a:lnTo>
                      <a:pt x="963" y="498"/>
                    </a:lnTo>
                    <a:lnTo>
                      <a:pt x="963" y="510"/>
                    </a:lnTo>
                    <a:lnTo>
                      <a:pt x="977" y="510"/>
                    </a:lnTo>
                    <a:lnTo>
                      <a:pt x="977" y="498"/>
                    </a:lnTo>
                    <a:lnTo>
                      <a:pt x="1011" y="498"/>
                    </a:lnTo>
                    <a:lnTo>
                      <a:pt x="1011" y="510"/>
                    </a:lnTo>
                    <a:lnTo>
                      <a:pt x="1025" y="510"/>
                    </a:lnTo>
                    <a:lnTo>
                      <a:pt x="1025" y="498"/>
                    </a:lnTo>
                    <a:lnTo>
                      <a:pt x="1060" y="498"/>
                    </a:lnTo>
                    <a:lnTo>
                      <a:pt x="1060" y="510"/>
                    </a:lnTo>
                    <a:lnTo>
                      <a:pt x="1074" y="510"/>
                    </a:lnTo>
                    <a:lnTo>
                      <a:pt x="1074" y="498"/>
                    </a:lnTo>
                    <a:lnTo>
                      <a:pt x="1107" y="498"/>
                    </a:lnTo>
                    <a:lnTo>
                      <a:pt x="1107" y="510"/>
                    </a:lnTo>
                    <a:lnTo>
                      <a:pt x="1122" y="510"/>
                    </a:lnTo>
                    <a:lnTo>
                      <a:pt x="1122" y="498"/>
                    </a:lnTo>
                    <a:lnTo>
                      <a:pt x="1155" y="498"/>
                    </a:lnTo>
                    <a:lnTo>
                      <a:pt x="1155" y="510"/>
                    </a:lnTo>
                    <a:lnTo>
                      <a:pt x="1171" y="510"/>
                    </a:lnTo>
                    <a:lnTo>
                      <a:pt x="1171" y="498"/>
                    </a:lnTo>
                    <a:lnTo>
                      <a:pt x="1204" y="498"/>
                    </a:lnTo>
                    <a:lnTo>
                      <a:pt x="1204" y="510"/>
                    </a:lnTo>
                    <a:lnTo>
                      <a:pt x="1219" y="510"/>
                    </a:lnTo>
                    <a:lnTo>
                      <a:pt x="1219" y="498"/>
                    </a:lnTo>
                    <a:lnTo>
                      <a:pt x="1253" y="498"/>
                    </a:lnTo>
                    <a:lnTo>
                      <a:pt x="1253" y="510"/>
                    </a:lnTo>
                    <a:lnTo>
                      <a:pt x="1268" y="510"/>
                    </a:lnTo>
                    <a:lnTo>
                      <a:pt x="1268" y="498"/>
                    </a:lnTo>
                    <a:lnTo>
                      <a:pt x="1301" y="498"/>
                    </a:lnTo>
                    <a:lnTo>
                      <a:pt x="1301" y="510"/>
                    </a:lnTo>
                    <a:lnTo>
                      <a:pt x="1316" y="510"/>
                    </a:lnTo>
                    <a:lnTo>
                      <a:pt x="1316" y="498"/>
                    </a:lnTo>
                    <a:lnTo>
                      <a:pt x="1350" y="498"/>
                    </a:lnTo>
                    <a:lnTo>
                      <a:pt x="1350" y="510"/>
                    </a:lnTo>
                    <a:lnTo>
                      <a:pt x="1365" y="510"/>
                    </a:lnTo>
                    <a:lnTo>
                      <a:pt x="1365" y="498"/>
                    </a:lnTo>
                    <a:lnTo>
                      <a:pt x="1398" y="498"/>
                    </a:lnTo>
                    <a:lnTo>
                      <a:pt x="1398" y="510"/>
                    </a:lnTo>
                    <a:lnTo>
                      <a:pt x="1413" y="510"/>
                    </a:lnTo>
                    <a:lnTo>
                      <a:pt x="1413" y="498"/>
                    </a:lnTo>
                    <a:lnTo>
                      <a:pt x="1447" y="498"/>
                    </a:lnTo>
                    <a:lnTo>
                      <a:pt x="1447" y="510"/>
                    </a:lnTo>
                    <a:lnTo>
                      <a:pt x="1462" y="510"/>
                    </a:lnTo>
                    <a:lnTo>
                      <a:pt x="1462" y="498"/>
                    </a:lnTo>
                    <a:lnTo>
                      <a:pt x="1495" y="498"/>
                    </a:lnTo>
                    <a:lnTo>
                      <a:pt x="1495" y="510"/>
                    </a:lnTo>
                    <a:lnTo>
                      <a:pt x="1510" y="510"/>
                    </a:lnTo>
                    <a:lnTo>
                      <a:pt x="1510" y="498"/>
                    </a:lnTo>
                    <a:lnTo>
                      <a:pt x="1551" y="498"/>
                    </a:lnTo>
                    <a:lnTo>
                      <a:pt x="1551" y="473"/>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00"/>
              <p:cNvSpPr>
                <a:spLocks noEditPoints="1"/>
              </p:cNvSpPr>
              <p:nvPr/>
            </p:nvSpPr>
            <p:spPr bwMode="auto">
              <a:xfrm>
                <a:off x="853032" y="3440985"/>
                <a:ext cx="1219540" cy="567780"/>
              </a:xfrm>
              <a:custGeom>
                <a:avLst/>
                <a:gdLst>
                  <a:gd name="T0" fmla="*/ 828 w 881"/>
                  <a:gd name="T1" fmla="*/ 21 h 410"/>
                  <a:gd name="T2" fmla="*/ 797 w 881"/>
                  <a:gd name="T3" fmla="*/ 119 h 410"/>
                  <a:gd name="T4" fmla="*/ 763 w 881"/>
                  <a:gd name="T5" fmla="*/ 136 h 410"/>
                  <a:gd name="T6" fmla="*/ 717 w 881"/>
                  <a:gd name="T7" fmla="*/ 199 h 410"/>
                  <a:gd name="T8" fmla="*/ 675 w 881"/>
                  <a:gd name="T9" fmla="*/ 211 h 410"/>
                  <a:gd name="T10" fmla="*/ 592 w 881"/>
                  <a:gd name="T11" fmla="*/ 299 h 410"/>
                  <a:gd name="T12" fmla="*/ 548 w 881"/>
                  <a:gd name="T13" fmla="*/ 308 h 410"/>
                  <a:gd name="T14" fmla="*/ 417 w 881"/>
                  <a:gd name="T15" fmla="*/ 357 h 410"/>
                  <a:gd name="T16" fmla="*/ 369 w 881"/>
                  <a:gd name="T17" fmla="*/ 357 h 410"/>
                  <a:gd name="T18" fmla="*/ 247 w 881"/>
                  <a:gd name="T19" fmla="*/ 380 h 410"/>
                  <a:gd name="T20" fmla="*/ 197 w 881"/>
                  <a:gd name="T21" fmla="*/ 375 h 410"/>
                  <a:gd name="T22" fmla="*/ 54 w 881"/>
                  <a:gd name="T23" fmla="*/ 362 h 410"/>
                  <a:gd name="T24" fmla="*/ 4 w 881"/>
                  <a:gd name="T25" fmla="*/ 354 h 410"/>
                  <a:gd name="T26" fmla="*/ 51 w 881"/>
                  <a:gd name="T27" fmla="*/ 372 h 410"/>
                  <a:gd name="T28" fmla="*/ 215 w 881"/>
                  <a:gd name="T29" fmla="*/ 406 h 410"/>
                  <a:gd name="T30" fmla="*/ 372 w 881"/>
                  <a:gd name="T31" fmla="*/ 377 h 410"/>
                  <a:gd name="T32" fmla="*/ 417 w 881"/>
                  <a:gd name="T33" fmla="*/ 371 h 410"/>
                  <a:gd name="T34" fmla="*/ 555 w 881"/>
                  <a:gd name="T35" fmla="*/ 332 h 410"/>
                  <a:gd name="T36" fmla="*/ 597 w 881"/>
                  <a:gd name="T37" fmla="*/ 321 h 410"/>
                  <a:gd name="T38" fmla="*/ 685 w 881"/>
                  <a:gd name="T39" fmla="*/ 238 h 410"/>
                  <a:gd name="T40" fmla="*/ 724 w 881"/>
                  <a:gd name="T41" fmla="*/ 224 h 410"/>
                  <a:gd name="T42" fmla="*/ 776 w 881"/>
                  <a:gd name="T43" fmla="*/ 165 h 410"/>
                  <a:gd name="T44" fmla="*/ 812 w 881"/>
                  <a:gd name="T45" fmla="*/ 149 h 410"/>
                  <a:gd name="T46" fmla="*/ 845 w 881"/>
                  <a:gd name="T47" fmla="*/ 52 h 410"/>
                  <a:gd name="T48" fmla="*/ 877 w 881"/>
                  <a:gd name="T49" fmla="*/ 35 h 410"/>
                  <a:gd name="T50" fmla="*/ 25 w 881"/>
                  <a:gd name="T51" fmla="*/ 375 h 410"/>
                  <a:gd name="T52" fmla="*/ 32 w 881"/>
                  <a:gd name="T53" fmla="*/ 347 h 410"/>
                  <a:gd name="T54" fmla="*/ 25 w 881"/>
                  <a:gd name="T55" fmla="*/ 375 h 410"/>
                  <a:gd name="T56" fmla="*/ 208 w 881"/>
                  <a:gd name="T57" fmla="*/ 378 h 410"/>
                  <a:gd name="T58" fmla="*/ 236 w 881"/>
                  <a:gd name="T59" fmla="*/ 386 h 410"/>
                  <a:gd name="T60" fmla="*/ 389 w 881"/>
                  <a:gd name="T61" fmla="*/ 377 h 410"/>
                  <a:gd name="T62" fmla="*/ 397 w 881"/>
                  <a:gd name="T63" fmla="*/ 350 h 410"/>
                  <a:gd name="T64" fmla="*/ 389 w 881"/>
                  <a:gd name="T65" fmla="*/ 377 h 410"/>
                  <a:gd name="T66" fmla="*/ 559 w 881"/>
                  <a:gd name="T67" fmla="*/ 311 h 410"/>
                  <a:gd name="T68" fmla="*/ 587 w 881"/>
                  <a:gd name="T69" fmla="*/ 318 h 410"/>
                  <a:gd name="T70" fmla="*/ 696 w 881"/>
                  <a:gd name="T71" fmla="*/ 231 h 410"/>
                  <a:gd name="T72" fmla="*/ 704 w 881"/>
                  <a:gd name="T73" fmla="*/ 204 h 410"/>
                  <a:gd name="T74" fmla="*/ 696 w 881"/>
                  <a:gd name="T75" fmla="*/ 231 h 410"/>
                  <a:gd name="T76" fmla="*/ 773 w 881"/>
                  <a:gd name="T77" fmla="*/ 139 h 410"/>
                  <a:gd name="T78" fmla="*/ 801 w 881"/>
                  <a:gd name="T79" fmla="*/ 146 h 410"/>
                  <a:gd name="T80" fmla="*/ 849 w 881"/>
                  <a:gd name="T81" fmla="*/ 42 h 410"/>
                  <a:gd name="T82" fmla="*/ 856 w 881"/>
                  <a:gd name="T83" fmla="*/ 14 h 410"/>
                  <a:gd name="T84" fmla="*/ 849 w 881"/>
                  <a:gd name="T85" fmla="*/ 4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1" h="410">
                    <a:moveTo>
                      <a:pt x="859" y="4"/>
                    </a:moveTo>
                    <a:cubicBezTo>
                      <a:pt x="846" y="0"/>
                      <a:pt x="832" y="8"/>
                      <a:pt x="828" y="21"/>
                    </a:cubicBezTo>
                    <a:cubicBezTo>
                      <a:pt x="825" y="31"/>
                      <a:pt x="829" y="41"/>
                      <a:pt x="836" y="47"/>
                    </a:cubicBezTo>
                    <a:cubicBezTo>
                      <a:pt x="797" y="119"/>
                      <a:pt x="797" y="119"/>
                      <a:pt x="797" y="119"/>
                    </a:cubicBezTo>
                    <a:cubicBezTo>
                      <a:pt x="796" y="119"/>
                      <a:pt x="795" y="118"/>
                      <a:pt x="794" y="118"/>
                    </a:cubicBezTo>
                    <a:cubicBezTo>
                      <a:pt x="781" y="114"/>
                      <a:pt x="767" y="122"/>
                      <a:pt x="763" y="136"/>
                    </a:cubicBezTo>
                    <a:cubicBezTo>
                      <a:pt x="760" y="144"/>
                      <a:pt x="762" y="152"/>
                      <a:pt x="767" y="158"/>
                    </a:cubicBezTo>
                    <a:cubicBezTo>
                      <a:pt x="717" y="199"/>
                      <a:pt x="717" y="199"/>
                      <a:pt x="717" y="199"/>
                    </a:cubicBezTo>
                    <a:cubicBezTo>
                      <a:pt x="714" y="196"/>
                      <a:pt x="710" y="194"/>
                      <a:pt x="707" y="193"/>
                    </a:cubicBezTo>
                    <a:cubicBezTo>
                      <a:pt x="693" y="189"/>
                      <a:pt x="679" y="197"/>
                      <a:pt x="675" y="211"/>
                    </a:cubicBezTo>
                    <a:cubicBezTo>
                      <a:pt x="673" y="217"/>
                      <a:pt x="674" y="224"/>
                      <a:pt x="678" y="230"/>
                    </a:cubicBezTo>
                    <a:cubicBezTo>
                      <a:pt x="592" y="299"/>
                      <a:pt x="592" y="299"/>
                      <a:pt x="592" y="299"/>
                    </a:cubicBezTo>
                    <a:cubicBezTo>
                      <a:pt x="589" y="295"/>
                      <a:pt x="585" y="292"/>
                      <a:pt x="580" y="290"/>
                    </a:cubicBezTo>
                    <a:cubicBezTo>
                      <a:pt x="566" y="286"/>
                      <a:pt x="552" y="294"/>
                      <a:pt x="548" y="308"/>
                    </a:cubicBezTo>
                    <a:cubicBezTo>
                      <a:pt x="547" y="313"/>
                      <a:pt x="547" y="318"/>
                      <a:pt x="549" y="322"/>
                    </a:cubicBezTo>
                    <a:cubicBezTo>
                      <a:pt x="417" y="357"/>
                      <a:pt x="417" y="357"/>
                      <a:pt x="417" y="357"/>
                    </a:cubicBezTo>
                    <a:cubicBezTo>
                      <a:pt x="415" y="349"/>
                      <a:pt x="409" y="342"/>
                      <a:pt x="400" y="339"/>
                    </a:cubicBezTo>
                    <a:cubicBezTo>
                      <a:pt x="386" y="336"/>
                      <a:pt x="372" y="343"/>
                      <a:pt x="369" y="357"/>
                    </a:cubicBezTo>
                    <a:cubicBezTo>
                      <a:pt x="368" y="360"/>
                      <a:pt x="367" y="363"/>
                      <a:pt x="368" y="367"/>
                    </a:cubicBezTo>
                    <a:cubicBezTo>
                      <a:pt x="247" y="380"/>
                      <a:pt x="247" y="380"/>
                      <a:pt x="247" y="380"/>
                    </a:cubicBezTo>
                    <a:cubicBezTo>
                      <a:pt x="246" y="370"/>
                      <a:pt x="239" y="361"/>
                      <a:pt x="229" y="358"/>
                    </a:cubicBezTo>
                    <a:cubicBezTo>
                      <a:pt x="215" y="354"/>
                      <a:pt x="201" y="362"/>
                      <a:pt x="197" y="375"/>
                    </a:cubicBezTo>
                    <a:cubicBezTo>
                      <a:pt x="197" y="377"/>
                      <a:pt x="197" y="379"/>
                      <a:pt x="197" y="381"/>
                    </a:cubicBezTo>
                    <a:cubicBezTo>
                      <a:pt x="54" y="362"/>
                      <a:pt x="54" y="362"/>
                      <a:pt x="54" y="362"/>
                    </a:cubicBezTo>
                    <a:cubicBezTo>
                      <a:pt x="54" y="350"/>
                      <a:pt x="47" y="340"/>
                      <a:pt x="35" y="337"/>
                    </a:cubicBezTo>
                    <a:cubicBezTo>
                      <a:pt x="22" y="333"/>
                      <a:pt x="8" y="341"/>
                      <a:pt x="4" y="354"/>
                    </a:cubicBezTo>
                    <a:cubicBezTo>
                      <a:pt x="0" y="368"/>
                      <a:pt x="8" y="382"/>
                      <a:pt x="22" y="385"/>
                    </a:cubicBezTo>
                    <a:cubicBezTo>
                      <a:pt x="34" y="389"/>
                      <a:pt x="46" y="383"/>
                      <a:pt x="51" y="372"/>
                    </a:cubicBezTo>
                    <a:cubicBezTo>
                      <a:pt x="199" y="393"/>
                      <a:pt x="199" y="393"/>
                      <a:pt x="199" y="393"/>
                    </a:cubicBezTo>
                    <a:cubicBezTo>
                      <a:pt x="202" y="399"/>
                      <a:pt x="208" y="404"/>
                      <a:pt x="215" y="406"/>
                    </a:cubicBezTo>
                    <a:cubicBezTo>
                      <a:pt x="228" y="410"/>
                      <a:pt x="241" y="403"/>
                      <a:pt x="245" y="392"/>
                    </a:cubicBezTo>
                    <a:cubicBezTo>
                      <a:pt x="372" y="377"/>
                      <a:pt x="372" y="377"/>
                      <a:pt x="372" y="377"/>
                    </a:cubicBezTo>
                    <a:cubicBezTo>
                      <a:pt x="375" y="382"/>
                      <a:pt x="380" y="386"/>
                      <a:pt x="386" y="388"/>
                    </a:cubicBezTo>
                    <a:cubicBezTo>
                      <a:pt x="400" y="392"/>
                      <a:pt x="414" y="384"/>
                      <a:pt x="417" y="371"/>
                    </a:cubicBezTo>
                    <a:cubicBezTo>
                      <a:pt x="418" y="370"/>
                      <a:pt x="418" y="369"/>
                      <a:pt x="418" y="368"/>
                    </a:cubicBezTo>
                    <a:cubicBezTo>
                      <a:pt x="555" y="332"/>
                      <a:pt x="555" y="332"/>
                      <a:pt x="555" y="332"/>
                    </a:cubicBezTo>
                    <a:cubicBezTo>
                      <a:pt x="558" y="335"/>
                      <a:pt x="561" y="338"/>
                      <a:pt x="566" y="339"/>
                    </a:cubicBezTo>
                    <a:cubicBezTo>
                      <a:pt x="579" y="343"/>
                      <a:pt x="593" y="335"/>
                      <a:pt x="597" y="321"/>
                    </a:cubicBezTo>
                    <a:cubicBezTo>
                      <a:pt x="598" y="317"/>
                      <a:pt x="598" y="313"/>
                      <a:pt x="597" y="309"/>
                    </a:cubicBezTo>
                    <a:cubicBezTo>
                      <a:pt x="685" y="238"/>
                      <a:pt x="685" y="238"/>
                      <a:pt x="685" y="238"/>
                    </a:cubicBezTo>
                    <a:cubicBezTo>
                      <a:pt x="687" y="240"/>
                      <a:pt x="690" y="241"/>
                      <a:pt x="693" y="242"/>
                    </a:cubicBezTo>
                    <a:cubicBezTo>
                      <a:pt x="706" y="246"/>
                      <a:pt x="720" y="238"/>
                      <a:pt x="724" y="224"/>
                    </a:cubicBezTo>
                    <a:cubicBezTo>
                      <a:pt x="726" y="219"/>
                      <a:pt x="725" y="213"/>
                      <a:pt x="723" y="208"/>
                    </a:cubicBezTo>
                    <a:cubicBezTo>
                      <a:pt x="776" y="165"/>
                      <a:pt x="776" y="165"/>
                      <a:pt x="776" y="165"/>
                    </a:cubicBezTo>
                    <a:cubicBezTo>
                      <a:pt x="777" y="166"/>
                      <a:pt x="779" y="166"/>
                      <a:pt x="780" y="167"/>
                    </a:cubicBezTo>
                    <a:cubicBezTo>
                      <a:pt x="794" y="171"/>
                      <a:pt x="808" y="163"/>
                      <a:pt x="812" y="149"/>
                    </a:cubicBezTo>
                    <a:cubicBezTo>
                      <a:pt x="814" y="141"/>
                      <a:pt x="812" y="132"/>
                      <a:pt x="806" y="125"/>
                    </a:cubicBezTo>
                    <a:cubicBezTo>
                      <a:pt x="845" y="52"/>
                      <a:pt x="845" y="52"/>
                      <a:pt x="845" y="52"/>
                    </a:cubicBezTo>
                    <a:cubicBezTo>
                      <a:pt x="845" y="52"/>
                      <a:pt x="846" y="52"/>
                      <a:pt x="846" y="52"/>
                    </a:cubicBezTo>
                    <a:cubicBezTo>
                      <a:pt x="859" y="56"/>
                      <a:pt x="873" y="48"/>
                      <a:pt x="877" y="35"/>
                    </a:cubicBezTo>
                    <a:cubicBezTo>
                      <a:pt x="881" y="21"/>
                      <a:pt x="873" y="7"/>
                      <a:pt x="859" y="4"/>
                    </a:cubicBezTo>
                    <a:close/>
                    <a:moveTo>
                      <a:pt x="25" y="375"/>
                    </a:moveTo>
                    <a:cubicBezTo>
                      <a:pt x="17" y="373"/>
                      <a:pt x="13" y="365"/>
                      <a:pt x="15" y="357"/>
                    </a:cubicBezTo>
                    <a:cubicBezTo>
                      <a:pt x="17" y="350"/>
                      <a:pt x="25" y="345"/>
                      <a:pt x="32" y="347"/>
                    </a:cubicBezTo>
                    <a:cubicBezTo>
                      <a:pt x="40" y="349"/>
                      <a:pt x="44" y="357"/>
                      <a:pt x="42" y="365"/>
                    </a:cubicBezTo>
                    <a:cubicBezTo>
                      <a:pt x="40" y="372"/>
                      <a:pt x="32" y="377"/>
                      <a:pt x="25" y="375"/>
                    </a:cubicBezTo>
                    <a:close/>
                    <a:moveTo>
                      <a:pt x="218" y="396"/>
                    </a:moveTo>
                    <a:cubicBezTo>
                      <a:pt x="210" y="394"/>
                      <a:pt x="206" y="386"/>
                      <a:pt x="208" y="378"/>
                    </a:cubicBezTo>
                    <a:cubicBezTo>
                      <a:pt x="210" y="371"/>
                      <a:pt x="218" y="366"/>
                      <a:pt x="226" y="368"/>
                    </a:cubicBezTo>
                    <a:cubicBezTo>
                      <a:pt x="233" y="370"/>
                      <a:pt x="238" y="378"/>
                      <a:pt x="236" y="386"/>
                    </a:cubicBezTo>
                    <a:cubicBezTo>
                      <a:pt x="233" y="393"/>
                      <a:pt x="226" y="398"/>
                      <a:pt x="218" y="396"/>
                    </a:cubicBezTo>
                    <a:close/>
                    <a:moveTo>
                      <a:pt x="389" y="377"/>
                    </a:moveTo>
                    <a:cubicBezTo>
                      <a:pt x="382" y="375"/>
                      <a:pt x="377" y="367"/>
                      <a:pt x="379" y="360"/>
                    </a:cubicBezTo>
                    <a:cubicBezTo>
                      <a:pt x="381" y="352"/>
                      <a:pt x="389" y="348"/>
                      <a:pt x="397" y="350"/>
                    </a:cubicBezTo>
                    <a:cubicBezTo>
                      <a:pt x="404" y="352"/>
                      <a:pt x="409" y="360"/>
                      <a:pt x="407" y="368"/>
                    </a:cubicBezTo>
                    <a:cubicBezTo>
                      <a:pt x="405" y="375"/>
                      <a:pt x="397" y="380"/>
                      <a:pt x="389" y="377"/>
                    </a:cubicBezTo>
                    <a:close/>
                    <a:moveTo>
                      <a:pt x="569" y="328"/>
                    </a:moveTo>
                    <a:cubicBezTo>
                      <a:pt x="561" y="326"/>
                      <a:pt x="557" y="318"/>
                      <a:pt x="559" y="311"/>
                    </a:cubicBezTo>
                    <a:cubicBezTo>
                      <a:pt x="561" y="303"/>
                      <a:pt x="569" y="299"/>
                      <a:pt x="577" y="301"/>
                    </a:cubicBezTo>
                    <a:cubicBezTo>
                      <a:pt x="584" y="303"/>
                      <a:pt x="589" y="311"/>
                      <a:pt x="587" y="318"/>
                    </a:cubicBezTo>
                    <a:cubicBezTo>
                      <a:pt x="584" y="326"/>
                      <a:pt x="576" y="330"/>
                      <a:pt x="569" y="328"/>
                    </a:cubicBezTo>
                    <a:close/>
                    <a:moveTo>
                      <a:pt x="696" y="231"/>
                    </a:moveTo>
                    <a:cubicBezTo>
                      <a:pt x="688" y="229"/>
                      <a:pt x="684" y="221"/>
                      <a:pt x="686" y="214"/>
                    </a:cubicBezTo>
                    <a:cubicBezTo>
                      <a:pt x="688" y="206"/>
                      <a:pt x="696" y="202"/>
                      <a:pt x="704" y="204"/>
                    </a:cubicBezTo>
                    <a:cubicBezTo>
                      <a:pt x="711" y="206"/>
                      <a:pt x="716" y="214"/>
                      <a:pt x="713" y="221"/>
                    </a:cubicBezTo>
                    <a:cubicBezTo>
                      <a:pt x="711" y="229"/>
                      <a:pt x="703" y="233"/>
                      <a:pt x="696" y="231"/>
                    </a:cubicBezTo>
                    <a:close/>
                    <a:moveTo>
                      <a:pt x="783" y="156"/>
                    </a:moveTo>
                    <a:cubicBezTo>
                      <a:pt x="776" y="154"/>
                      <a:pt x="771" y="146"/>
                      <a:pt x="773" y="139"/>
                    </a:cubicBezTo>
                    <a:cubicBezTo>
                      <a:pt x="776" y="131"/>
                      <a:pt x="783" y="127"/>
                      <a:pt x="791" y="129"/>
                    </a:cubicBezTo>
                    <a:cubicBezTo>
                      <a:pt x="799" y="131"/>
                      <a:pt x="803" y="139"/>
                      <a:pt x="801" y="146"/>
                    </a:cubicBezTo>
                    <a:cubicBezTo>
                      <a:pt x="799" y="154"/>
                      <a:pt x="791" y="158"/>
                      <a:pt x="783" y="156"/>
                    </a:cubicBezTo>
                    <a:close/>
                    <a:moveTo>
                      <a:pt x="849" y="42"/>
                    </a:moveTo>
                    <a:cubicBezTo>
                      <a:pt x="841" y="40"/>
                      <a:pt x="837" y="32"/>
                      <a:pt x="839" y="24"/>
                    </a:cubicBezTo>
                    <a:cubicBezTo>
                      <a:pt x="841" y="16"/>
                      <a:pt x="849" y="12"/>
                      <a:pt x="856" y="14"/>
                    </a:cubicBezTo>
                    <a:cubicBezTo>
                      <a:pt x="864" y="16"/>
                      <a:pt x="868" y="24"/>
                      <a:pt x="866" y="32"/>
                    </a:cubicBezTo>
                    <a:cubicBezTo>
                      <a:pt x="864" y="39"/>
                      <a:pt x="856" y="44"/>
                      <a:pt x="849" y="42"/>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801"/>
              <p:cNvSpPr>
                <a:spLocks noChangeArrowheads="1"/>
              </p:cNvSpPr>
              <p:nvPr/>
            </p:nvSpPr>
            <p:spPr bwMode="auto">
              <a:xfrm>
                <a:off x="1979464" y="3421816"/>
                <a:ext cx="115929" cy="115017"/>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48"/>
              <p:cNvSpPr>
                <a:spLocks noEditPoints="1"/>
              </p:cNvSpPr>
              <p:nvPr/>
            </p:nvSpPr>
            <p:spPr bwMode="auto">
              <a:xfrm>
                <a:off x="316288" y="3156182"/>
                <a:ext cx="2473768" cy="1811968"/>
              </a:xfrm>
              <a:custGeom>
                <a:avLst/>
                <a:gdLst>
                  <a:gd name="T0" fmla="*/ 1312 w 1788"/>
                  <a:gd name="T1" fmla="*/ 350 h 1308"/>
                  <a:gd name="T2" fmla="*/ 1409 w 1788"/>
                  <a:gd name="T3" fmla="*/ 391 h 1308"/>
                  <a:gd name="T4" fmla="*/ 741 w 1788"/>
                  <a:gd name="T5" fmla="*/ 905 h 1308"/>
                  <a:gd name="T6" fmla="*/ 0 w 1788"/>
                  <a:gd name="T7" fmla="*/ 1084 h 1308"/>
                  <a:gd name="T8" fmla="*/ 330 w 1788"/>
                  <a:gd name="T9" fmla="*/ 1108 h 1308"/>
                  <a:gd name="T10" fmla="*/ 896 w 1788"/>
                  <a:gd name="T11" fmla="*/ 1289 h 1308"/>
                  <a:gd name="T12" fmla="*/ 1595 w 1788"/>
                  <a:gd name="T13" fmla="*/ 568 h 1308"/>
                  <a:gd name="T14" fmla="*/ 1663 w 1788"/>
                  <a:gd name="T15" fmla="*/ 499 h 1308"/>
                  <a:gd name="T16" fmla="*/ 1779 w 1788"/>
                  <a:gd name="T17" fmla="*/ 549 h 1308"/>
                  <a:gd name="T18" fmla="*/ 1788 w 1788"/>
                  <a:gd name="T19" fmla="*/ 0 h 1308"/>
                  <a:gd name="T20" fmla="*/ 1312 w 1788"/>
                  <a:gd name="T21" fmla="*/ 350 h 1308"/>
                  <a:gd name="T22" fmla="*/ 887 w 1788"/>
                  <a:gd name="T23" fmla="*/ 1194 h 1308"/>
                  <a:gd name="T24" fmla="*/ 477 w 1788"/>
                  <a:gd name="T25" fmla="*/ 1097 h 1308"/>
                  <a:gd name="T26" fmla="*/ 1068 w 1788"/>
                  <a:gd name="T27" fmla="*/ 929 h 1308"/>
                  <a:gd name="T28" fmla="*/ 1485 w 1788"/>
                  <a:gd name="T29" fmla="*/ 666 h 1308"/>
                  <a:gd name="T30" fmla="*/ 887 w 1788"/>
                  <a:gd name="T31" fmla="*/ 119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8" h="1308">
                    <a:moveTo>
                      <a:pt x="1312" y="350"/>
                    </a:moveTo>
                    <a:cubicBezTo>
                      <a:pt x="1409" y="391"/>
                      <a:pt x="1409" y="391"/>
                      <a:pt x="1409" y="391"/>
                    </a:cubicBezTo>
                    <a:cubicBezTo>
                      <a:pt x="1244" y="596"/>
                      <a:pt x="1016" y="777"/>
                      <a:pt x="741" y="905"/>
                    </a:cubicBezTo>
                    <a:cubicBezTo>
                      <a:pt x="495" y="1019"/>
                      <a:pt x="240" y="1077"/>
                      <a:pt x="0" y="1084"/>
                    </a:cubicBezTo>
                    <a:cubicBezTo>
                      <a:pt x="106" y="1103"/>
                      <a:pt x="216" y="1111"/>
                      <a:pt x="330" y="1108"/>
                    </a:cubicBezTo>
                    <a:cubicBezTo>
                      <a:pt x="481" y="1237"/>
                      <a:pt x="682" y="1308"/>
                      <a:pt x="896" y="1289"/>
                    </a:cubicBezTo>
                    <a:cubicBezTo>
                      <a:pt x="1281" y="1256"/>
                      <a:pt x="1574" y="943"/>
                      <a:pt x="1595" y="568"/>
                    </a:cubicBezTo>
                    <a:cubicBezTo>
                      <a:pt x="1618" y="546"/>
                      <a:pt x="1641" y="523"/>
                      <a:pt x="1663" y="499"/>
                    </a:cubicBezTo>
                    <a:cubicBezTo>
                      <a:pt x="1779" y="549"/>
                      <a:pt x="1779" y="549"/>
                      <a:pt x="1779" y="549"/>
                    </a:cubicBezTo>
                    <a:cubicBezTo>
                      <a:pt x="1788" y="0"/>
                      <a:pt x="1788" y="0"/>
                      <a:pt x="1788" y="0"/>
                    </a:cubicBezTo>
                    <a:lnTo>
                      <a:pt x="1312" y="350"/>
                    </a:lnTo>
                    <a:close/>
                    <a:moveTo>
                      <a:pt x="887" y="1194"/>
                    </a:moveTo>
                    <a:cubicBezTo>
                      <a:pt x="738" y="1207"/>
                      <a:pt x="596" y="1170"/>
                      <a:pt x="477" y="1097"/>
                    </a:cubicBezTo>
                    <a:cubicBezTo>
                      <a:pt x="671" y="1075"/>
                      <a:pt x="872" y="1020"/>
                      <a:pt x="1068" y="929"/>
                    </a:cubicBezTo>
                    <a:cubicBezTo>
                      <a:pt x="1223" y="856"/>
                      <a:pt x="1363" y="767"/>
                      <a:pt x="1485" y="666"/>
                    </a:cubicBezTo>
                    <a:cubicBezTo>
                      <a:pt x="1425" y="947"/>
                      <a:pt x="1188" y="1168"/>
                      <a:pt x="887" y="11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49"/>
              <p:cNvSpPr>
                <a:spLocks/>
              </p:cNvSpPr>
              <p:nvPr/>
            </p:nvSpPr>
            <p:spPr bwMode="auto">
              <a:xfrm>
                <a:off x="984479" y="3090459"/>
                <a:ext cx="134186" cy="167961"/>
              </a:xfrm>
              <a:custGeom>
                <a:avLst/>
                <a:gdLst>
                  <a:gd name="T0" fmla="*/ 58 w 97"/>
                  <a:gd name="T1" fmla="*/ 58 h 121"/>
                  <a:gd name="T2" fmla="*/ 97 w 97"/>
                  <a:gd name="T3" fmla="*/ 58 h 121"/>
                  <a:gd name="T4" fmla="*/ 97 w 97"/>
                  <a:gd name="T5" fmla="*/ 115 h 121"/>
                  <a:gd name="T6" fmla="*/ 79 w 97"/>
                  <a:gd name="T7" fmla="*/ 119 h 121"/>
                  <a:gd name="T8" fmla="*/ 56 w 97"/>
                  <a:gd name="T9" fmla="*/ 121 h 121"/>
                  <a:gd name="T10" fmla="*/ 15 w 97"/>
                  <a:gd name="T11" fmla="*/ 105 h 121"/>
                  <a:gd name="T12" fmla="*/ 0 w 97"/>
                  <a:gd name="T13" fmla="*/ 60 h 121"/>
                  <a:gd name="T14" fmla="*/ 7 w 97"/>
                  <a:gd name="T15" fmla="*/ 28 h 121"/>
                  <a:gd name="T16" fmla="*/ 28 w 97"/>
                  <a:gd name="T17" fmla="*/ 7 h 121"/>
                  <a:gd name="T18" fmla="*/ 61 w 97"/>
                  <a:gd name="T19" fmla="*/ 0 h 121"/>
                  <a:gd name="T20" fmla="*/ 96 w 97"/>
                  <a:gd name="T21" fmla="*/ 7 h 121"/>
                  <a:gd name="T22" fmla="*/ 90 w 97"/>
                  <a:gd name="T23" fmla="*/ 19 h 121"/>
                  <a:gd name="T24" fmla="*/ 60 w 97"/>
                  <a:gd name="T25" fmla="*/ 12 h 121"/>
                  <a:gd name="T26" fmla="*/ 26 w 97"/>
                  <a:gd name="T27" fmla="*/ 25 h 121"/>
                  <a:gd name="T28" fmla="*/ 14 w 97"/>
                  <a:gd name="T29" fmla="*/ 60 h 121"/>
                  <a:gd name="T30" fmla="*/ 26 w 97"/>
                  <a:gd name="T31" fmla="*/ 96 h 121"/>
                  <a:gd name="T32" fmla="*/ 60 w 97"/>
                  <a:gd name="T33" fmla="*/ 109 h 121"/>
                  <a:gd name="T34" fmla="*/ 84 w 97"/>
                  <a:gd name="T35" fmla="*/ 106 h 121"/>
                  <a:gd name="T36" fmla="*/ 84 w 97"/>
                  <a:gd name="T37" fmla="*/ 70 h 121"/>
                  <a:gd name="T38" fmla="*/ 58 w 97"/>
                  <a:gd name="T39" fmla="*/ 70 h 121"/>
                  <a:gd name="T40" fmla="*/ 58 w 97"/>
                  <a:gd name="T41" fmla="*/ 5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1">
                    <a:moveTo>
                      <a:pt x="58" y="58"/>
                    </a:moveTo>
                    <a:cubicBezTo>
                      <a:pt x="97" y="58"/>
                      <a:pt x="97" y="58"/>
                      <a:pt x="97" y="58"/>
                    </a:cubicBezTo>
                    <a:cubicBezTo>
                      <a:pt x="97" y="115"/>
                      <a:pt x="97" y="115"/>
                      <a:pt x="97" y="115"/>
                    </a:cubicBezTo>
                    <a:cubicBezTo>
                      <a:pt x="91" y="117"/>
                      <a:pt x="85" y="118"/>
                      <a:pt x="79" y="119"/>
                    </a:cubicBezTo>
                    <a:cubicBezTo>
                      <a:pt x="72" y="120"/>
                      <a:pt x="65" y="121"/>
                      <a:pt x="56" y="121"/>
                    </a:cubicBezTo>
                    <a:cubicBezTo>
                      <a:pt x="38" y="121"/>
                      <a:pt x="25" y="115"/>
                      <a:pt x="15" y="105"/>
                    </a:cubicBezTo>
                    <a:cubicBezTo>
                      <a:pt x="5" y="94"/>
                      <a:pt x="0" y="79"/>
                      <a:pt x="0" y="60"/>
                    </a:cubicBezTo>
                    <a:cubicBezTo>
                      <a:pt x="0" y="48"/>
                      <a:pt x="2" y="38"/>
                      <a:pt x="7" y="28"/>
                    </a:cubicBezTo>
                    <a:cubicBezTo>
                      <a:pt x="12" y="19"/>
                      <a:pt x="19" y="12"/>
                      <a:pt x="28" y="7"/>
                    </a:cubicBezTo>
                    <a:cubicBezTo>
                      <a:pt x="38" y="2"/>
                      <a:pt x="48" y="0"/>
                      <a:pt x="61" y="0"/>
                    </a:cubicBezTo>
                    <a:cubicBezTo>
                      <a:pt x="73" y="0"/>
                      <a:pt x="85" y="2"/>
                      <a:pt x="96" y="7"/>
                    </a:cubicBezTo>
                    <a:cubicBezTo>
                      <a:pt x="90" y="19"/>
                      <a:pt x="90" y="19"/>
                      <a:pt x="90" y="19"/>
                    </a:cubicBezTo>
                    <a:cubicBezTo>
                      <a:pt x="80" y="15"/>
                      <a:pt x="70" y="12"/>
                      <a:pt x="60" y="12"/>
                    </a:cubicBezTo>
                    <a:cubicBezTo>
                      <a:pt x="46" y="12"/>
                      <a:pt x="34" y="17"/>
                      <a:pt x="26" y="25"/>
                    </a:cubicBezTo>
                    <a:cubicBezTo>
                      <a:pt x="18" y="34"/>
                      <a:pt x="14" y="45"/>
                      <a:pt x="14" y="60"/>
                    </a:cubicBezTo>
                    <a:cubicBezTo>
                      <a:pt x="14" y="76"/>
                      <a:pt x="18" y="88"/>
                      <a:pt x="26" y="96"/>
                    </a:cubicBezTo>
                    <a:cubicBezTo>
                      <a:pt x="34" y="105"/>
                      <a:pt x="45" y="109"/>
                      <a:pt x="60" y="109"/>
                    </a:cubicBezTo>
                    <a:cubicBezTo>
                      <a:pt x="68" y="109"/>
                      <a:pt x="76" y="108"/>
                      <a:pt x="84" y="106"/>
                    </a:cubicBezTo>
                    <a:cubicBezTo>
                      <a:pt x="84" y="70"/>
                      <a:pt x="84" y="70"/>
                      <a:pt x="84" y="70"/>
                    </a:cubicBezTo>
                    <a:cubicBezTo>
                      <a:pt x="58" y="70"/>
                      <a:pt x="58" y="70"/>
                      <a:pt x="58" y="70"/>
                    </a:cubicBezTo>
                    <a:lnTo>
                      <a:pt x="58" y="5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50"/>
              <p:cNvSpPr>
                <a:spLocks/>
              </p:cNvSpPr>
              <p:nvPr/>
            </p:nvSpPr>
            <p:spPr bwMode="auto">
              <a:xfrm>
                <a:off x="1132358" y="3093197"/>
                <a:ext cx="122319" cy="162484"/>
              </a:xfrm>
              <a:custGeom>
                <a:avLst/>
                <a:gdLst>
                  <a:gd name="T0" fmla="*/ 77 w 134"/>
                  <a:gd name="T1" fmla="*/ 178 h 178"/>
                  <a:gd name="T2" fmla="*/ 56 w 134"/>
                  <a:gd name="T3" fmla="*/ 178 h 178"/>
                  <a:gd name="T4" fmla="*/ 56 w 134"/>
                  <a:gd name="T5" fmla="*/ 18 h 178"/>
                  <a:gd name="T6" fmla="*/ 0 w 134"/>
                  <a:gd name="T7" fmla="*/ 18 h 178"/>
                  <a:gd name="T8" fmla="*/ 0 w 134"/>
                  <a:gd name="T9" fmla="*/ 0 h 178"/>
                  <a:gd name="T10" fmla="*/ 134 w 134"/>
                  <a:gd name="T11" fmla="*/ 0 h 178"/>
                  <a:gd name="T12" fmla="*/ 134 w 134"/>
                  <a:gd name="T13" fmla="*/ 18 h 178"/>
                  <a:gd name="T14" fmla="*/ 77 w 134"/>
                  <a:gd name="T15" fmla="*/ 18 h 178"/>
                  <a:gd name="T16" fmla="*/ 77 w 134"/>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8">
                    <a:moveTo>
                      <a:pt x="77" y="178"/>
                    </a:moveTo>
                    <a:lnTo>
                      <a:pt x="56" y="178"/>
                    </a:lnTo>
                    <a:lnTo>
                      <a:pt x="56" y="18"/>
                    </a:lnTo>
                    <a:lnTo>
                      <a:pt x="0" y="18"/>
                    </a:lnTo>
                    <a:lnTo>
                      <a:pt x="0" y="0"/>
                    </a:lnTo>
                    <a:lnTo>
                      <a:pt x="134" y="0"/>
                    </a:lnTo>
                    <a:lnTo>
                      <a:pt x="134" y="18"/>
                    </a:lnTo>
                    <a:lnTo>
                      <a:pt x="77" y="18"/>
                    </a:lnTo>
                    <a:lnTo>
                      <a:pt x="77"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51"/>
              <p:cNvSpPr>
                <a:spLocks/>
              </p:cNvSpPr>
              <p:nvPr/>
            </p:nvSpPr>
            <p:spPr bwMode="auto">
              <a:xfrm>
                <a:off x="1262892" y="3090459"/>
                <a:ext cx="100411" cy="167961"/>
              </a:xfrm>
              <a:custGeom>
                <a:avLst/>
                <a:gdLst>
                  <a:gd name="T0" fmla="*/ 73 w 73"/>
                  <a:gd name="T1" fmla="*/ 88 h 121"/>
                  <a:gd name="T2" fmla="*/ 62 w 73"/>
                  <a:gd name="T3" fmla="*/ 112 h 121"/>
                  <a:gd name="T4" fmla="*/ 32 w 73"/>
                  <a:gd name="T5" fmla="*/ 121 h 121"/>
                  <a:gd name="T6" fmla="*/ 0 w 73"/>
                  <a:gd name="T7" fmla="*/ 115 h 121"/>
                  <a:gd name="T8" fmla="*/ 0 w 73"/>
                  <a:gd name="T9" fmla="*/ 102 h 121"/>
                  <a:gd name="T10" fmla="*/ 15 w 73"/>
                  <a:gd name="T11" fmla="*/ 107 h 121"/>
                  <a:gd name="T12" fmla="*/ 32 w 73"/>
                  <a:gd name="T13" fmla="*/ 109 h 121"/>
                  <a:gd name="T14" fmla="*/ 53 w 73"/>
                  <a:gd name="T15" fmla="*/ 104 h 121"/>
                  <a:gd name="T16" fmla="*/ 60 w 73"/>
                  <a:gd name="T17" fmla="*/ 89 h 121"/>
                  <a:gd name="T18" fmla="*/ 57 w 73"/>
                  <a:gd name="T19" fmla="*/ 79 h 121"/>
                  <a:gd name="T20" fmla="*/ 49 w 73"/>
                  <a:gd name="T21" fmla="*/ 72 h 121"/>
                  <a:gd name="T22" fmla="*/ 32 w 73"/>
                  <a:gd name="T23" fmla="*/ 64 h 121"/>
                  <a:gd name="T24" fmla="*/ 8 w 73"/>
                  <a:gd name="T25" fmla="*/ 51 h 121"/>
                  <a:gd name="T26" fmla="*/ 1 w 73"/>
                  <a:gd name="T27" fmla="*/ 30 h 121"/>
                  <a:gd name="T28" fmla="*/ 11 w 73"/>
                  <a:gd name="T29" fmla="*/ 8 h 121"/>
                  <a:gd name="T30" fmla="*/ 38 w 73"/>
                  <a:gd name="T31" fmla="*/ 0 h 121"/>
                  <a:gd name="T32" fmla="*/ 71 w 73"/>
                  <a:gd name="T33" fmla="*/ 6 h 121"/>
                  <a:gd name="T34" fmla="*/ 66 w 73"/>
                  <a:gd name="T35" fmla="*/ 18 h 121"/>
                  <a:gd name="T36" fmla="*/ 38 w 73"/>
                  <a:gd name="T37" fmla="*/ 12 h 121"/>
                  <a:gd name="T38" fmla="*/ 21 w 73"/>
                  <a:gd name="T39" fmla="*/ 17 h 121"/>
                  <a:gd name="T40" fmla="*/ 15 w 73"/>
                  <a:gd name="T41" fmla="*/ 30 h 121"/>
                  <a:gd name="T42" fmla="*/ 17 w 73"/>
                  <a:gd name="T43" fmla="*/ 40 h 121"/>
                  <a:gd name="T44" fmla="*/ 25 w 73"/>
                  <a:gd name="T45" fmla="*/ 47 h 121"/>
                  <a:gd name="T46" fmla="*/ 41 w 73"/>
                  <a:gd name="T47" fmla="*/ 54 h 121"/>
                  <a:gd name="T48" fmla="*/ 67 w 73"/>
                  <a:gd name="T49" fmla="*/ 68 h 121"/>
                  <a:gd name="T50" fmla="*/ 73 w 73"/>
                  <a:gd name="T51"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21">
                    <a:moveTo>
                      <a:pt x="73" y="88"/>
                    </a:moveTo>
                    <a:cubicBezTo>
                      <a:pt x="73" y="98"/>
                      <a:pt x="70" y="106"/>
                      <a:pt x="62" y="112"/>
                    </a:cubicBezTo>
                    <a:cubicBezTo>
                      <a:pt x="55" y="118"/>
                      <a:pt x="45" y="121"/>
                      <a:pt x="32" y="121"/>
                    </a:cubicBezTo>
                    <a:cubicBezTo>
                      <a:pt x="18" y="121"/>
                      <a:pt x="7" y="119"/>
                      <a:pt x="0" y="115"/>
                    </a:cubicBezTo>
                    <a:cubicBezTo>
                      <a:pt x="0" y="102"/>
                      <a:pt x="0" y="102"/>
                      <a:pt x="0" y="102"/>
                    </a:cubicBezTo>
                    <a:cubicBezTo>
                      <a:pt x="4" y="104"/>
                      <a:pt x="10" y="106"/>
                      <a:pt x="15" y="107"/>
                    </a:cubicBezTo>
                    <a:cubicBezTo>
                      <a:pt x="21" y="108"/>
                      <a:pt x="27" y="109"/>
                      <a:pt x="32" y="109"/>
                    </a:cubicBezTo>
                    <a:cubicBezTo>
                      <a:pt x="41" y="109"/>
                      <a:pt x="48" y="107"/>
                      <a:pt x="53" y="104"/>
                    </a:cubicBezTo>
                    <a:cubicBezTo>
                      <a:pt x="57" y="100"/>
                      <a:pt x="60" y="95"/>
                      <a:pt x="60" y="89"/>
                    </a:cubicBezTo>
                    <a:cubicBezTo>
                      <a:pt x="60" y="85"/>
                      <a:pt x="59" y="82"/>
                      <a:pt x="57" y="79"/>
                    </a:cubicBezTo>
                    <a:cubicBezTo>
                      <a:pt x="56" y="77"/>
                      <a:pt x="53" y="74"/>
                      <a:pt x="49" y="72"/>
                    </a:cubicBezTo>
                    <a:cubicBezTo>
                      <a:pt x="45" y="70"/>
                      <a:pt x="39" y="67"/>
                      <a:pt x="32" y="64"/>
                    </a:cubicBezTo>
                    <a:cubicBezTo>
                      <a:pt x="21" y="61"/>
                      <a:pt x="13" y="56"/>
                      <a:pt x="8" y="51"/>
                    </a:cubicBezTo>
                    <a:cubicBezTo>
                      <a:pt x="4" y="45"/>
                      <a:pt x="1" y="38"/>
                      <a:pt x="1" y="30"/>
                    </a:cubicBezTo>
                    <a:cubicBezTo>
                      <a:pt x="1" y="21"/>
                      <a:pt x="5" y="13"/>
                      <a:pt x="11" y="8"/>
                    </a:cubicBezTo>
                    <a:cubicBezTo>
                      <a:pt x="18" y="3"/>
                      <a:pt x="27" y="0"/>
                      <a:pt x="38" y="0"/>
                    </a:cubicBezTo>
                    <a:cubicBezTo>
                      <a:pt x="50" y="0"/>
                      <a:pt x="61" y="2"/>
                      <a:pt x="71" y="6"/>
                    </a:cubicBezTo>
                    <a:cubicBezTo>
                      <a:pt x="66" y="18"/>
                      <a:pt x="66" y="18"/>
                      <a:pt x="66" y="18"/>
                    </a:cubicBezTo>
                    <a:cubicBezTo>
                      <a:pt x="57" y="14"/>
                      <a:pt x="47" y="12"/>
                      <a:pt x="38" y="12"/>
                    </a:cubicBezTo>
                    <a:cubicBezTo>
                      <a:pt x="31" y="12"/>
                      <a:pt x="25" y="14"/>
                      <a:pt x="21" y="17"/>
                    </a:cubicBezTo>
                    <a:cubicBezTo>
                      <a:pt x="17" y="20"/>
                      <a:pt x="15" y="24"/>
                      <a:pt x="15" y="30"/>
                    </a:cubicBezTo>
                    <a:cubicBezTo>
                      <a:pt x="15" y="34"/>
                      <a:pt x="16" y="37"/>
                      <a:pt x="17" y="40"/>
                    </a:cubicBezTo>
                    <a:cubicBezTo>
                      <a:pt x="19" y="42"/>
                      <a:pt x="21" y="45"/>
                      <a:pt x="25" y="47"/>
                    </a:cubicBezTo>
                    <a:cubicBezTo>
                      <a:pt x="28" y="49"/>
                      <a:pt x="34" y="52"/>
                      <a:pt x="41" y="54"/>
                    </a:cubicBezTo>
                    <a:cubicBezTo>
                      <a:pt x="53" y="59"/>
                      <a:pt x="62" y="63"/>
                      <a:pt x="67" y="68"/>
                    </a:cubicBezTo>
                    <a:cubicBezTo>
                      <a:pt x="71" y="73"/>
                      <a:pt x="73" y="80"/>
                      <a:pt x="73" y="88"/>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52"/>
              <p:cNvSpPr>
                <a:spLocks/>
              </p:cNvSpPr>
              <p:nvPr/>
            </p:nvSpPr>
            <p:spPr bwMode="auto">
              <a:xfrm>
                <a:off x="1445458" y="3093197"/>
                <a:ext cx="89457" cy="162484"/>
              </a:xfrm>
              <a:custGeom>
                <a:avLst/>
                <a:gdLst>
                  <a:gd name="T0" fmla="*/ 21 w 98"/>
                  <a:gd name="T1" fmla="*/ 178 h 178"/>
                  <a:gd name="T2" fmla="*/ 0 w 98"/>
                  <a:gd name="T3" fmla="*/ 178 h 178"/>
                  <a:gd name="T4" fmla="*/ 0 w 98"/>
                  <a:gd name="T5" fmla="*/ 0 h 178"/>
                  <a:gd name="T6" fmla="*/ 98 w 98"/>
                  <a:gd name="T7" fmla="*/ 0 h 178"/>
                  <a:gd name="T8" fmla="*/ 98 w 98"/>
                  <a:gd name="T9" fmla="*/ 18 h 178"/>
                  <a:gd name="T10" fmla="*/ 21 w 98"/>
                  <a:gd name="T11" fmla="*/ 18 h 178"/>
                  <a:gd name="T12" fmla="*/ 21 w 98"/>
                  <a:gd name="T13" fmla="*/ 84 h 178"/>
                  <a:gd name="T14" fmla="*/ 94 w 98"/>
                  <a:gd name="T15" fmla="*/ 84 h 178"/>
                  <a:gd name="T16" fmla="*/ 94 w 98"/>
                  <a:gd name="T17" fmla="*/ 102 h 178"/>
                  <a:gd name="T18" fmla="*/ 21 w 98"/>
                  <a:gd name="T19" fmla="*/ 102 h 178"/>
                  <a:gd name="T20" fmla="*/ 21 w 98"/>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78">
                    <a:moveTo>
                      <a:pt x="21" y="178"/>
                    </a:moveTo>
                    <a:lnTo>
                      <a:pt x="0" y="178"/>
                    </a:lnTo>
                    <a:lnTo>
                      <a:pt x="0" y="0"/>
                    </a:lnTo>
                    <a:lnTo>
                      <a:pt x="98" y="0"/>
                    </a:lnTo>
                    <a:lnTo>
                      <a:pt x="98" y="18"/>
                    </a:lnTo>
                    <a:lnTo>
                      <a:pt x="21" y="18"/>
                    </a:lnTo>
                    <a:lnTo>
                      <a:pt x="21" y="84"/>
                    </a:lnTo>
                    <a:lnTo>
                      <a:pt x="94" y="84"/>
                    </a:lnTo>
                    <a:lnTo>
                      <a:pt x="94" y="102"/>
                    </a:lnTo>
                    <a:lnTo>
                      <a:pt x="21" y="102"/>
                    </a:lnTo>
                    <a:lnTo>
                      <a:pt x="21"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53"/>
              <p:cNvSpPr>
                <a:spLocks/>
              </p:cNvSpPr>
              <p:nvPr/>
            </p:nvSpPr>
            <p:spPr bwMode="auto">
              <a:xfrm>
                <a:off x="1534916" y="3093197"/>
                <a:ext cx="127796" cy="162484"/>
              </a:xfrm>
              <a:custGeom>
                <a:avLst/>
                <a:gdLst>
                  <a:gd name="T0" fmla="*/ 69 w 140"/>
                  <a:gd name="T1" fmla="*/ 88 h 178"/>
                  <a:gd name="T2" fmla="*/ 117 w 140"/>
                  <a:gd name="T3" fmla="*/ 0 h 178"/>
                  <a:gd name="T4" fmla="*/ 140 w 140"/>
                  <a:gd name="T5" fmla="*/ 0 h 178"/>
                  <a:gd name="T6" fmla="*/ 79 w 140"/>
                  <a:gd name="T7" fmla="*/ 110 h 178"/>
                  <a:gd name="T8" fmla="*/ 79 w 140"/>
                  <a:gd name="T9" fmla="*/ 178 h 178"/>
                  <a:gd name="T10" fmla="*/ 59 w 140"/>
                  <a:gd name="T11" fmla="*/ 178 h 178"/>
                  <a:gd name="T12" fmla="*/ 59 w 140"/>
                  <a:gd name="T13" fmla="*/ 110 h 178"/>
                  <a:gd name="T14" fmla="*/ 0 w 140"/>
                  <a:gd name="T15" fmla="*/ 0 h 178"/>
                  <a:gd name="T16" fmla="*/ 22 w 140"/>
                  <a:gd name="T17" fmla="*/ 0 h 178"/>
                  <a:gd name="T18" fmla="*/ 69 w 140"/>
                  <a:gd name="T19" fmla="*/ 8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78">
                    <a:moveTo>
                      <a:pt x="69" y="88"/>
                    </a:moveTo>
                    <a:lnTo>
                      <a:pt x="117" y="0"/>
                    </a:lnTo>
                    <a:lnTo>
                      <a:pt x="140" y="0"/>
                    </a:lnTo>
                    <a:lnTo>
                      <a:pt x="79" y="110"/>
                    </a:lnTo>
                    <a:lnTo>
                      <a:pt x="79" y="178"/>
                    </a:lnTo>
                    <a:lnTo>
                      <a:pt x="59" y="178"/>
                    </a:lnTo>
                    <a:lnTo>
                      <a:pt x="59" y="110"/>
                    </a:lnTo>
                    <a:lnTo>
                      <a:pt x="0" y="0"/>
                    </a:lnTo>
                    <a:lnTo>
                      <a:pt x="22" y="0"/>
                    </a:lnTo>
                    <a:lnTo>
                      <a:pt x="69" y="8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54"/>
              <p:cNvSpPr>
                <a:spLocks/>
              </p:cNvSpPr>
              <p:nvPr/>
            </p:nvSpPr>
            <p:spPr bwMode="auto">
              <a:xfrm>
                <a:off x="1676404" y="3093197"/>
                <a:ext cx="59334" cy="162484"/>
              </a:xfrm>
              <a:custGeom>
                <a:avLst/>
                <a:gdLst>
                  <a:gd name="T0" fmla="*/ 43 w 43"/>
                  <a:gd name="T1" fmla="*/ 117 h 117"/>
                  <a:gd name="T2" fmla="*/ 30 w 43"/>
                  <a:gd name="T3" fmla="*/ 117 h 117"/>
                  <a:gd name="T4" fmla="*/ 30 w 43"/>
                  <a:gd name="T5" fmla="*/ 33 h 117"/>
                  <a:gd name="T6" fmla="*/ 30 w 43"/>
                  <a:gd name="T7" fmla="*/ 14 h 117"/>
                  <a:gd name="T8" fmla="*/ 27 w 43"/>
                  <a:gd name="T9" fmla="*/ 17 h 117"/>
                  <a:gd name="T10" fmla="*/ 8 w 43"/>
                  <a:gd name="T11" fmla="*/ 33 h 117"/>
                  <a:gd name="T12" fmla="*/ 0 w 43"/>
                  <a:gd name="T13" fmla="*/ 24 h 117"/>
                  <a:gd name="T14" fmla="*/ 32 w 43"/>
                  <a:gd name="T15" fmla="*/ 0 h 117"/>
                  <a:gd name="T16" fmla="*/ 43 w 43"/>
                  <a:gd name="T17" fmla="*/ 0 h 117"/>
                  <a:gd name="T18" fmla="*/ 43 w 43"/>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17">
                    <a:moveTo>
                      <a:pt x="43" y="117"/>
                    </a:moveTo>
                    <a:cubicBezTo>
                      <a:pt x="30" y="117"/>
                      <a:pt x="30" y="117"/>
                      <a:pt x="30" y="117"/>
                    </a:cubicBezTo>
                    <a:cubicBezTo>
                      <a:pt x="30" y="33"/>
                      <a:pt x="30" y="33"/>
                      <a:pt x="30" y="33"/>
                    </a:cubicBezTo>
                    <a:cubicBezTo>
                      <a:pt x="30" y="27"/>
                      <a:pt x="30" y="20"/>
                      <a:pt x="30" y="14"/>
                    </a:cubicBezTo>
                    <a:cubicBezTo>
                      <a:pt x="29" y="15"/>
                      <a:pt x="28" y="16"/>
                      <a:pt x="27" y="17"/>
                    </a:cubicBezTo>
                    <a:cubicBezTo>
                      <a:pt x="25" y="18"/>
                      <a:pt x="19" y="24"/>
                      <a:pt x="8" y="33"/>
                    </a:cubicBezTo>
                    <a:cubicBezTo>
                      <a:pt x="0" y="24"/>
                      <a:pt x="0" y="24"/>
                      <a:pt x="0" y="24"/>
                    </a:cubicBezTo>
                    <a:cubicBezTo>
                      <a:pt x="32" y="0"/>
                      <a:pt x="32" y="0"/>
                      <a:pt x="32" y="0"/>
                    </a:cubicBezTo>
                    <a:cubicBezTo>
                      <a:pt x="43" y="0"/>
                      <a:pt x="43" y="0"/>
                      <a:pt x="43" y="0"/>
                    </a:cubicBezTo>
                    <a:lnTo>
                      <a:pt x="43" y="117"/>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55"/>
              <p:cNvSpPr>
                <a:spLocks/>
              </p:cNvSpPr>
              <p:nvPr/>
            </p:nvSpPr>
            <p:spPr bwMode="auto">
              <a:xfrm>
                <a:off x="1791421" y="3093197"/>
                <a:ext cx="107714" cy="162484"/>
              </a:xfrm>
              <a:custGeom>
                <a:avLst/>
                <a:gdLst>
                  <a:gd name="T0" fmla="*/ 23 w 118"/>
                  <a:gd name="T1" fmla="*/ 178 h 178"/>
                  <a:gd name="T2" fmla="*/ 97 w 118"/>
                  <a:gd name="T3" fmla="*/ 18 h 178"/>
                  <a:gd name="T4" fmla="*/ 0 w 118"/>
                  <a:gd name="T5" fmla="*/ 18 h 178"/>
                  <a:gd name="T6" fmla="*/ 0 w 118"/>
                  <a:gd name="T7" fmla="*/ 0 h 178"/>
                  <a:gd name="T8" fmla="*/ 118 w 118"/>
                  <a:gd name="T9" fmla="*/ 0 h 178"/>
                  <a:gd name="T10" fmla="*/ 118 w 118"/>
                  <a:gd name="T11" fmla="*/ 15 h 178"/>
                  <a:gd name="T12" fmla="*/ 45 w 118"/>
                  <a:gd name="T13" fmla="*/ 178 h 178"/>
                  <a:gd name="T14" fmla="*/ 23 w 118"/>
                  <a:gd name="T15" fmla="*/ 178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78">
                    <a:moveTo>
                      <a:pt x="23" y="178"/>
                    </a:moveTo>
                    <a:lnTo>
                      <a:pt x="97" y="18"/>
                    </a:lnTo>
                    <a:lnTo>
                      <a:pt x="0" y="18"/>
                    </a:lnTo>
                    <a:lnTo>
                      <a:pt x="0" y="0"/>
                    </a:lnTo>
                    <a:lnTo>
                      <a:pt x="118" y="0"/>
                    </a:lnTo>
                    <a:lnTo>
                      <a:pt x="118" y="15"/>
                    </a:lnTo>
                    <a:lnTo>
                      <a:pt x="45" y="178"/>
                    </a:lnTo>
                    <a:lnTo>
                      <a:pt x="23"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6" name="Rectangle 135"/>
          <p:cNvSpPr/>
          <p:nvPr/>
        </p:nvSpPr>
        <p:spPr>
          <a:xfrm>
            <a:off x="235557" y="6243956"/>
            <a:ext cx="3151825" cy="196208"/>
          </a:xfrm>
          <a:prstGeom prst="rect">
            <a:avLst/>
          </a:prstGeom>
        </p:spPr>
        <p:txBody>
          <a:bodyPr wrap="none">
            <a:spAutoFit/>
          </a:bodyPr>
          <a:lstStyle/>
          <a:p>
            <a:pPr lvl="0">
              <a:spcAft>
                <a:spcPts val="451"/>
              </a:spcAft>
              <a:buSzPct val="100000"/>
            </a:pPr>
            <a:r>
              <a:rPr lang="fr-CA" sz="675" dirty="0">
                <a:solidFill>
                  <a:prstClr val="black"/>
                </a:solidFill>
              </a:rPr>
              <a:t>© 2016. For information, contact Deloitte Touche Tohmatsu Limited</a:t>
            </a:r>
          </a:p>
        </p:txBody>
      </p:sp>
      <p:graphicFrame>
        <p:nvGraphicFramePr>
          <p:cNvPr id="179" name="Table 178"/>
          <p:cNvGraphicFramePr>
            <a:graphicFrameLocks noGrp="1"/>
          </p:cNvGraphicFramePr>
          <p:nvPr>
            <p:extLst>
              <p:ext uri="{D42A27DB-BD31-4B8C-83A1-F6EECF244321}">
                <p14:modId xmlns:p14="http://schemas.microsoft.com/office/powerpoint/2010/main" val="1273663265"/>
              </p:ext>
            </p:extLst>
          </p:nvPr>
        </p:nvGraphicFramePr>
        <p:xfrm>
          <a:off x="436788" y="939148"/>
          <a:ext cx="8044722" cy="4695812"/>
        </p:xfrm>
        <a:graphic>
          <a:graphicData uri="http://schemas.openxmlformats.org/drawingml/2006/table">
            <a:tbl>
              <a:tblPr firstRow="1" bandRow="1">
                <a:tableStyleId>{5940675A-B579-460E-94D1-54222C63F5DA}</a:tableStyleId>
              </a:tblPr>
              <a:tblGrid>
                <a:gridCol w="1965124"/>
                <a:gridCol w="1985331"/>
                <a:gridCol w="2047135"/>
                <a:gridCol w="2047132"/>
              </a:tblGrid>
              <a:tr h="463401">
                <a:tc>
                  <a:txBody>
                    <a:bodyPr/>
                    <a:lstStyle/>
                    <a:p>
                      <a:pPr algn="ctr"/>
                      <a:r>
                        <a:rPr lang="en-US" sz="800" b="1" dirty="0" smtClean="0">
                          <a:solidFill>
                            <a:schemeClr val="bg1"/>
                          </a:solidFill>
                          <a:latin typeface="+mn-lt"/>
                          <a:ea typeface="Verdana" pitchFamily="34" charset="0"/>
                          <a:cs typeface="Verdana" pitchFamily="34" charset="0"/>
                        </a:rPr>
                        <a:t>FY17</a:t>
                      </a:r>
                    </a:p>
                    <a:p>
                      <a:pPr algn="ctr"/>
                      <a:r>
                        <a:rPr lang="en-US" sz="800" b="1" dirty="0" smtClean="0">
                          <a:solidFill>
                            <a:schemeClr val="bg1"/>
                          </a:solidFill>
                          <a:latin typeface="+mn-lt"/>
                          <a:ea typeface="Verdana" pitchFamily="34" charset="0"/>
                          <a:cs typeface="Verdana" pitchFamily="34" charset="0"/>
                        </a:rPr>
                        <a:t>Q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a:r>
                        <a:rPr lang="en-US" sz="800" b="1" dirty="0" smtClean="0">
                          <a:solidFill>
                            <a:schemeClr val="bg1"/>
                          </a:solidFill>
                          <a:latin typeface="+mj-lt"/>
                          <a:ea typeface="Verdana" pitchFamily="34" charset="0"/>
                          <a:cs typeface="Verdana" pitchFamily="34" charset="0"/>
                        </a:rPr>
                        <a:t>FY17</a:t>
                      </a:r>
                    </a:p>
                    <a:p>
                      <a:pPr algn="ctr"/>
                      <a:r>
                        <a:rPr lang="en-US" sz="800" b="1" dirty="0" smtClean="0">
                          <a:solidFill>
                            <a:schemeClr val="bg1"/>
                          </a:solidFill>
                          <a:latin typeface="+mj-lt"/>
                          <a:ea typeface="Verdana" pitchFamily="34" charset="0"/>
                          <a:cs typeface="Verdana" pitchFamily="34" charset="0"/>
                        </a:rPr>
                        <a:t>Q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a:r>
                        <a:rPr lang="en-US" sz="800" b="1" dirty="0" smtClean="0">
                          <a:solidFill>
                            <a:schemeClr val="bg1"/>
                          </a:solidFill>
                          <a:latin typeface="+mj-lt"/>
                          <a:ea typeface="Verdana" pitchFamily="34" charset="0"/>
                          <a:cs typeface="Verdana" pitchFamily="34" charset="0"/>
                        </a:rPr>
                        <a:t>FY17</a:t>
                      </a:r>
                    </a:p>
                    <a:p>
                      <a:pPr algn="ctr"/>
                      <a:r>
                        <a:rPr lang="en-US" sz="800" b="1" dirty="0" smtClean="0">
                          <a:solidFill>
                            <a:schemeClr val="bg1"/>
                          </a:solidFill>
                          <a:latin typeface="+mj-lt"/>
                          <a:ea typeface="Verdana" pitchFamily="34" charset="0"/>
                          <a:cs typeface="Verdana" pitchFamily="34" charset="0"/>
                        </a:rPr>
                        <a:t>Q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a:r>
                        <a:rPr lang="en-US" sz="800" b="1" kern="1200" dirty="0" smtClean="0">
                          <a:solidFill>
                            <a:schemeClr val="bg1"/>
                          </a:solidFill>
                          <a:latin typeface="+mn-lt"/>
                          <a:ea typeface="Verdana" pitchFamily="34" charset="0"/>
                          <a:cs typeface="Verdana" pitchFamily="34" charset="0"/>
                        </a:rPr>
                        <a:t>FY17</a:t>
                      </a:r>
                    </a:p>
                    <a:p>
                      <a:pPr algn="ctr"/>
                      <a:r>
                        <a:rPr lang="en-US" sz="800" b="1" kern="1200" dirty="0" smtClean="0">
                          <a:solidFill>
                            <a:schemeClr val="bg1"/>
                          </a:solidFill>
                          <a:latin typeface="+mn-lt"/>
                          <a:ea typeface="Verdana" pitchFamily="34" charset="0"/>
                          <a:cs typeface="Verdana" pitchFamily="34" charset="0"/>
                        </a:rPr>
                        <a:t>Q4</a:t>
                      </a:r>
                    </a:p>
                  </a:txBody>
                  <a:tcP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002060"/>
                    </a:solidFill>
                  </a:tcPr>
                </a:tc>
              </a:tr>
              <a:tr h="4232411">
                <a:tc>
                  <a:txBody>
                    <a:bodyPr/>
                    <a:lstStyle/>
                    <a:p>
                      <a:endParaRPr lang="en-US" sz="700" dirty="0">
                        <a:latin typeface="Verdana" pitchFamily="34" charset="0"/>
                        <a:ea typeface="Verdana" pitchFamily="34" charset="0"/>
                        <a:cs typeface="Verdana" pitchFamily="34" charset="0"/>
                      </a:endParaRPr>
                    </a:p>
                  </a:txBody>
                  <a:tcPr>
                    <a:solidFill>
                      <a:schemeClr val="bg1">
                        <a:lumMod val="95000"/>
                      </a:schemeClr>
                    </a:solidFill>
                  </a:tcPr>
                </a:tc>
                <a:tc>
                  <a:txBody>
                    <a:bodyPr/>
                    <a:lstStyle/>
                    <a:p>
                      <a:endParaRPr lang="en-US" sz="700" dirty="0">
                        <a:latin typeface="Verdana" pitchFamily="34" charset="0"/>
                        <a:ea typeface="Verdana" pitchFamily="34" charset="0"/>
                        <a:cs typeface="Verdana" pitchFamily="34" charset="0"/>
                      </a:endParaRPr>
                    </a:p>
                  </a:txBody>
                  <a:tcPr>
                    <a:solidFill>
                      <a:schemeClr val="bg1">
                        <a:lumMod val="95000"/>
                      </a:schemeClr>
                    </a:solidFill>
                  </a:tcPr>
                </a:tc>
                <a:tc>
                  <a:txBody>
                    <a:bodyPr/>
                    <a:lstStyle/>
                    <a:p>
                      <a:endParaRPr lang="en-US" sz="700" dirty="0">
                        <a:latin typeface="Verdana" pitchFamily="34" charset="0"/>
                        <a:ea typeface="Verdana" pitchFamily="34" charset="0"/>
                        <a:cs typeface="Verdana" pitchFamily="34" charset="0"/>
                      </a:endParaRPr>
                    </a:p>
                  </a:txBody>
                  <a:tcPr>
                    <a:solidFill>
                      <a:schemeClr val="bg1">
                        <a:lumMod val="95000"/>
                      </a:schemeClr>
                    </a:solidFill>
                  </a:tcPr>
                </a:tc>
                <a:tc>
                  <a:txBody>
                    <a:bodyPr/>
                    <a:lstStyle/>
                    <a:p>
                      <a:endParaRPr lang="en-US" sz="700" dirty="0">
                        <a:latin typeface="Verdana" pitchFamily="34" charset="0"/>
                        <a:ea typeface="Verdana" pitchFamily="34" charset="0"/>
                        <a:cs typeface="Verdana" pitchFamily="34" charset="0"/>
                      </a:endParaRPr>
                    </a:p>
                  </a:txBody>
                  <a:tcPr>
                    <a:solidFill>
                      <a:schemeClr val="bg1">
                        <a:lumMod val="95000"/>
                      </a:schemeClr>
                    </a:solidFill>
                  </a:tcPr>
                </a:tc>
              </a:tr>
            </a:tbl>
          </a:graphicData>
        </a:graphic>
      </p:graphicFrame>
      <p:sp>
        <p:nvSpPr>
          <p:cNvPr id="180" name="Rectangle 179"/>
          <p:cNvSpPr/>
          <p:nvPr/>
        </p:nvSpPr>
        <p:spPr>
          <a:xfrm>
            <a:off x="676275" y="2629294"/>
            <a:ext cx="2057400" cy="276729"/>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pPr>
            <a:r>
              <a:rPr lang="en-US" sz="800" dirty="0">
                <a:solidFill>
                  <a:schemeClr val="bg1"/>
                </a:solidFill>
                <a:ea typeface="Verdana" pitchFamily="34" charset="0"/>
                <a:cs typeface="Verdana" pitchFamily="34" charset="0"/>
              </a:rPr>
              <a:t>Onboard</a:t>
            </a:r>
            <a:r>
              <a:rPr lang="en-US" sz="800" b="0" dirty="0" smtClean="0">
                <a:solidFill>
                  <a:schemeClr val="bg1"/>
                </a:solidFill>
                <a:ea typeface="Verdana" pitchFamily="34" charset="0"/>
                <a:cs typeface="Calibri" pitchFamily="34" charset="0"/>
              </a:rPr>
              <a:t> </a:t>
            </a:r>
            <a:r>
              <a:rPr lang="en-US" sz="800" dirty="0" smtClean="0">
                <a:solidFill>
                  <a:schemeClr val="bg1"/>
                </a:solidFill>
                <a:ea typeface="Verdana" pitchFamily="34" charset="0"/>
                <a:cs typeface="Verdana" pitchFamily="34" charset="0"/>
              </a:rPr>
              <a:t>Netherlands</a:t>
            </a:r>
            <a:endParaRPr lang="en-US" sz="800" dirty="0">
              <a:solidFill>
                <a:schemeClr val="bg1"/>
              </a:solidFill>
              <a:ea typeface="Verdana" pitchFamily="34" charset="0"/>
              <a:cs typeface="Verdana" pitchFamily="34" charset="0"/>
            </a:endParaRPr>
          </a:p>
        </p:txBody>
      </p:sp>
      <p:sp>
        <p:nvSpPr>
          <p:cNvPr id="181" name="TextBox 180"/>
          <p:cNvSpPr txBox="1"/>
          <p:nvPr/>
        </p:nvSpPr>
        <p:spPr>
          <a:xfrm>
            <a:off x="1895475" y="1226493"/>
            <a:ext cx="389850" cy="230832"/>
          </a:xfrm>
          <a:prstGeom prst="rect">
            <a:avLst/>
          </a:prstGeom>
          <a:noFill/>
        </p:spPr>
        <p:txBody>
          <a:bodyPr wrap="none" rtlCol="0">
            <a:spAutoFit/>
          </a:bodyPr>
          <a:lstStyle/>
          <a:p>
            <a:r>
              <a:rPr lang="en-US" sz="900" dirty="0" smtClean="0">
                <a:solidFill>
                  <a:schemeClr val="bg1"/>
                </a:solidFill>
              </a:rPr>
              <a:t>Aug</a:t>
            </a:r>
            <a:endParaRPr lang="en-US" sz="900" dirty="0">
              <a:solidFill>
                <a:schemeClr val="bg1"/>
              </a:solidFill>
            </a:endParaRPr>
          </a:p>
        </p:txBody>
      </p:sp>
      <p:sp>
        <p:nvSpPr>
          <p:cNvPr id="182" name="TextBox 181"/>
          <p:cNvSpPr txBox="1"/>
          <p:nvPr/>
        </p:nvSpPr>
        <p:spPr>
          <a:xfrm>
            <a:off x="2505075" y="1226493"/>
            <a:ext cx="389850" cy="230832"/>
          </a:xfrm>
          <a:prstGeom prst="rect">
            <a:avLst/>
          </a:prstGeom>
          <a:noFill/>
        </p:spPr>
        <p:txBody>
          <a:bodyPr wrap="none" rtlCol="0">
            <a:spAutoFit/>
          </a:bodyPr>
          <a:lstStyle/>
          <a:p>
            <a:r>
              <a:rPr lang="en-US" sz="900" dirty="0" smtClean="0">
                <a:solidFill>
                  <a:schemeClr val="bg1"/>
                </a:solidFill>
              </a:rPr>
              <a:t>Sep</a:t>
            </a:r>
            <a:endParaRPr lang="en-US" sz="900" dirty="0">
              <a:solidFill>
                <a:schemeClr val="bg1"/>
              </a:solidFill>
            </a:endParaRPr>
          </a:p>
        </p:txBody>
      </p:sp>
      <p:sp>
        <p:nvSpPr>
          <p:cNvPr id="183" name="TextBox 182"/>
          <p:cNvSpPr txBox="1"/>
          <p:nvPr/>
        </p:nvSpPr>
        <p:spPr>
          <a:xfrm>
            <a:off x="3207673" y="1226493"/>
            <a:ext cx="364202" cy="230832"/>
          </a:xfrm>
          <a:prstGeom prst="rect">
            <a:avLst/>
          </a:prstGeom>
          <a:noFill/>
        </p:spPr>
        <p:txBody>
          <a:bodyPr wrap="none" rtlCol="0">
            <a:spAutoFit/>
          </a:bodyPr>
          <a:lstStyle/>
          <a:p>
            <a:r>
              <a:rPr lang="en-US" sz="900" dirty="0" smtClean="0">
                <a:solidFill>
                  <a:schemeClr val="bg1"/>
                </a:solidFill>
              </a:rPr>
              <a:t>Oct</a:t>
            </a:r>
            <a:endParaRPr lang="en-US" sz="900" dirty="0">
              <a:solidFill>
                <a:schemeClr val="bg1"/>
              </a:solidFill>
            </a:endParaRPr>
          </a:p>
        </p:txBody>
      </p:sp>
      <p:sp>
        <p:nvSpPr>
          <p:cNvPr id="184" name="TextBox 183"/>
          <p:cNvSpPr txBox="1"/>
          <p:nvPr/>
        </p:nvSpPr>
        <p:spPr>
          <a:xfrm>
            <a:off x="3876675" y="1226493"/>
            <a:ext cx="389850" cy="230832"/>
          </a:xfrm>
          <a:prstGeom prst="rect">
            <a:avLst/>
          </a:prstGeom>
          <a:noFill/>
        </p:spPr>
        <p:txBody>
          <a:bodyPr wrap="none" rtlCol="0">
            <a:spAutoFit/>
          </a:bodyPr>
          <a:lstStyle/>
          <a:p>
            <a:r>
              <a:rPr lang="en-US" sz="900" dirty="0" smtClean="0">
                <a:solidFill>
                  <a:schemeClr val="bg1"/>
                </a:solidFill>
              </a:rPr>
              <a:t>Nov</a:t>
            </a:r>
            <a:endParaRPr lang="en-US" sz="900" dirty="0">
              <a:solidFill>
                <a:schemeClr val="bg1"/>
              </a:solidFill>
            </a:endParaRPr>
          </a:p>
        </p:txBody>
      </p:sp>
      <p:sp>
        <p:nvSpPr>
          <p:cNvPr id="185" name="TextBox 184"/>
          <p:cNvSpPr txBox="1"/>
          <p:nvPr/>
        </p:nvSpPr>
        <p:spPr>
          <a:xfrm>
            <a:off x="4553625" y="1226493"/>
            <a:ext cx="389850" cy="230832"/>
          </a:xfrm>
          <a:prstGeom prst="rect">
            <a:avLst/>
          </a:prstGeom>
          <a:noFill/>
        </p:spPr>
        <p:txBody>
          <a:bodyPr wrap="none" rtlCol="0">
            <a:spAutoFit/>
          </a:bodyPr>
          <a:lstStyle/>
          <a:p>
            <a:r>
              <a:rPr lang="en-US" sz="900" dirty="0" smtClean="0">
                <a:solidFill>
                  <a:schemeClr val="bg1"/>
                </a:solidFill>
              </a:rPr>
              <a:t>Dec</a:t>
            </a:r>
            <a:endParaRPr lang="en-US" sz="900" dirty="0">
              <a:solidFill>
                <a:schemeClr val="bg1"/>
              </a:solidFill>
            </a:endParaRPr>
          </a:p>
        </p:txBody>
      </p:sp>
      <p:sp>
        <p:nvSpPr>
          <p:cNvPr id="186" name="TextBox 185"/>
          <p:cNvSpPr txBox="1"/>
          <p:nvPr/>
        </p:nvSpPr>
        <p:spPr>
          <a:xfrm>
            <a:off x="7229475" y="1209004"/>
            <a:ext cx="364202" cy="230832"/>
          </a:xfrm>
          <a:prstGeom prst="rect">
            <a:avLst/>
          </a:prstGeom>
          <a:noFill/>
        </p:spPr>
        <p:txBody>
          <a:bodyPr wrap="none" rtlCol="0">
            <a:spAutoFit/>
          </a:bodyPr>
          <a:lstStyle/>
          <a:p>
            <a:r>
              <a:rPr lang="en-US" sz="900" dirty="0" smtClean="0">
                <a:solidFill>
                  <a:schemeClr val="bg1"/>
                </a:solidFill>
              </a:rPr>
              <a:t>Apr</a:t>
            </a:r>
            <a:endParaRPr lang="en-US" sz="900" dirty="0">
              <a:solidFill>
                <a:schemeClr val="bg1"/>
              </a:solidFill>
            </a:endParaRPr>
          </a:p>
        </p:txBody>
      </p:sp>
      <p:sp>
        <p:nvSpPr>
          <p:cNvPr id="187" name="TextBox 186"/>
          <p:cNvSpPr txBox="1"/>
          <p:nvPr/>
        </p:nvSpPr>
        <p:spPr>
          <a:xfrm>
            <a:off x="5934075" y="1226493"/>
            <a:ext cx="383438" cy="230832"/>
          </a:xfrm>
          <a:prstGeom prst="rect">
            <a:avLst/>
          </a:prstGeom>
          <a:noFill/>
        </p:spPr>
        <p:txBody>
          <a:bodyPr wrap="none" rtlCol="0">
            <a:spAutoFit/>
          </a:bodyPr>
          <a:lstStyle/>
          <a:p>
            <a:r>
              <a:rPr lang="en-US" sz="900" dirty="0" smtClean="0">
                <a:solidFill>
                  <a:schemeClr val="bg1"/>
                </a:solidFill>
              </a:rPr>
              <a:t>Feb</a:t>
            </a:r>
            <a:endParaRPr lang="en-US" sz="900" dirty="0">
              <a:solidFill>
                <a:schemeClr val="bg1"/>
              </a:solidFill>
            </a:endParaRPr>
          </a:p>
        </p:txBody>
      </p:sp>
      <p:sp>
        <p:nvSpPr>
          <p:cNvPr id="188" name="TextBox 187"/>
          <p:cNvSpPr txBox="1"/>
          <p:nvPr/>
        </p:nvSpPr>
        <p:spPr>
          <a:xfrm>
            <a:off x="5248275" y="1208715"/>
            <a:ext cx="370614" cy="230832"/>
          </a:xfrm>
          <a:prstGeom prst="rect">
            <a:avLst/>
          </a:prstGeom>
          <a:noFill/>
        </p:spPr>
        <p:txBody>
          <a:bodyPr wrap="none" rtlCol="0">
            <a:spAutoFit/>
          </a:bodyPr>
          <a:lstStyle/>
          <a:p>
            <a:r>
              <a:rPr lang="en-US" sz="900" dirty="0" smtClean="0">
                <a:solidFill>
                  <a:schemeClr val="bg1"/>
                </a:solidFill>
              </a:rPr>
              <a:t>Jan</a:t>
            </a:r>
            <a:endParaRPr lang="en-US" sz="900" dirty="0">
              <a:solidFill>
                <a:schemeClr val="bg1"/>
              </a:solidFill>
            </a:endParaRPr>
          </a:p>
        </p:txBody>
      </p:sp>
      <p:sp>
        <p:nvSpPr>
          <p:cNvPr id="189" name="TextBox 188"/>
          <p:cNvSpPr txBox="1"/>
          <p:nvPr/>
        </p:nvSpPr>
        <p:spPr>
          <a:xfrm>
            <a:off x="6589351" y="1209004"/>
            <a:ext cx="383438" cy="230832"/>
          </a:xfrm>
          <a:prstGeom prst="rect">
            <a:avLst/>
          </a:prstGeom>
          <a:noFill/>
        </p:spPr>
        <p:txBody>
          <a:bodyPr wrap="none" rtlCol="0">
            <a:spAutoFit/>
          </a:bodyPr>
          <a:lstStyle/>
          <a:p>
            <a:r>
              <a:rPr lang="en-US" sz="900" dirty="0" smtClean="0">
                <a:solidFill>
                  <a:schemeClr val="bg1"/>
                </a:solidFill>
              </a:rPr>
              <a:t>Mar</a:t>
            </a:r>
            <a:endParaRPr lang="en-US" sz="900" dirty="0">
              <a:solidFill>
                <a:schemeClr val="bg1"/>
              </a:solidFill>
            </a:endParaRPr>
          </a:p>
        </p:txBody>
      </p:sp>
      <p:sp>
        <p:nvSpPr>
          <p:cNvPr id="190" name="TextBox 189"/>
          <p:cNvSpPr txBox="1"/>
          <p:nvPr/>
        </p:nvSpPr>
        <p:spPr>
          <a:xfrm>
            <a:off x="7893601" y="1209004"/>
            <a:ext cx="402674" cy="230832"/>
          </a:xfrm>
          <a:prstGeom prst="rect">
            <a:avLst/>
          </a:prstGeom>
          <a:noFill/>
        </p:spPr>
        <p:txBody>
          <a:bodyPr wrap="none" rtlCol="0">
            <a:spAutoFit/>
          </a:bodyPr>
          <a:lstStyle/>
          <a:p>
            <a:r>
              <a:rPr lang="en-US" sz="900" dirty="0" smtClean="0">
                <a:solidFill>
                  <a:schemeClr val="bg1"/>
                </a:solidFill>
              </a:rPr>
              <a:t>May</a:t>
            </a:r>
            <a:endParaRPr lang="en-US" sz="900" dirty="0">
              <a:solidFill>
                <a:schemeClr val="bg1"/>
              </a:solidFill>
            </a:endParaRPr>
          </a:p>
        </p:txBody>
      </p:sp>
      <p:sp>
        <p:nvSpPr>
          <p:cNvPr id="191" name="TextBox 190"/>
          <p:cNvSpPr txBox="1"/>
          <p:nvPr/>
        </p:nvSpPr>
        <p:spPr>
          <a:xfrm>
            <a:off x="8481510" y="1209004"/>
            <a:ext cx="402674" cy="230832"/>
          </a:xfrm>
          <a:prstGeom prst="rect">
            <a:avLst/>
          </a:prstGeom>
          <a:noFill/>
        </p:spPr>
        <p:txBody>
          <a:bodyPr wrap="none" rtlCol="0">
            <a:spAutoFit/>
          </a:bodyPr>
          <a:lstStyle/>
          <a:p>
            <a:r>
              <a:rPr lang="en-US" sz="900" dirty="0" smtClean="0">
                <a:solidFill>
                  <a:schemeClr val="bg1"/>
                </a:solidFill>
              </a:rPr>
              <a:t>May</a:t>
            </a:r>
            <a:endParaRPr lang="en-US" sz="900" dirty="0">
              <a:solidFill>
                <a:schemeClr val="bg1"/>
              </a:solidFill>
            </a:endParaRPr>
          </a:p>
        </p:txBody>
      </p:sp>
      <p:sp>
        <p:nvSpPr>
          <p:cNvPr id="192" name="Rectangle 191"/>
          <p:cNvSpPr/>
          <p:nvPr/>
        </p:nvSpPr>
        <p:spPr>
          <a:xfrm>
            <a:off x="703153" y="2117781"/>
            <a:ext cx="2030522" cy="250059"/>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1"/>
                </a:solidFill>
                <a:ea typeface="Verdana" pitchFamily="34" charset="0"/>
                <a:cs typeface="Verdana" pitchFamily="34" charset="0"/>
              </a:rPr>
              <a:t>R1.3 </a:t>
            </a:r>
            <a:r>
              <a:rPr lang="en-US" sz="800" dirty="0" smtClean="0">
                <a:solidFill>
                  <a:schemeClr val="bg1"/>
                </a:solidFill>
                <a:ea typeface="Verdana" pitchFamily="34" charset="0"/>
                <a:cs typeface="Verdana" pitchFamily="34" charset="0"/>
              </a:rPr>
              <a:t>Release (Enhancements, Re-Branding)</a:t>
            </a:r>
            <a:endParaRPr lang="en-US" sz="800" dirty="0">
              <a:solidFill>
                <a:schemeClr val="bg1"/>
              </a:solidFill>
              <a:ea typeface="Verdana" pitchFamily="34" charset="0"/>
              <a:cs typeface="Verdana" pitchFamily="34" charset="0"/>
            </a:endParaRPr>
          </a:p>
        </p:txBody>
      </p:sp>
      <p:sp>
        <p:nvSpPr>
          <p:cNvPr id="193" name="TextBox 192"/>
          <p:cNvSpPr txBox="1"/>
          <p:nvPr/>
        </p:nvSpPr>
        <p:spPr>
          <a:xfrm>
            <a:off x="534261" y="1211104"/>
            <a:ext cx="370614" cy="230832"/>
          </a:xfrm>
          <a:prstGeom prst="rect">
            <a:avLst/>
          </a:prstGeom>
          <a:noFill/>
        </p:spPr>
        <p:txBody>
          <a:bodyPr wrap="none" rtlCol="0">
            <a:spAutoFit/>
          </a:bodyPr>
          <a:lstStyle/>
          <a:p>
            <a:r>
              <a:rPr lang="en-US" sz="900" dirty="0" smtClean="0">
                <a:solidFill>
                  <a:schemeClr val="bg1"/>
                </a:solidFill>
              </a:rPr>
              <a:t>Jun</a:t>
            </a:r>
            <a:endParaRPr lang="en-US" sz="900" dirty="0">
              <a:solidFill>
                <a:schemeClr val="bg1"/>
              </a:solidFill>
            </a:endParaRPr>
          </a:p>
        </p:txBody>
      </p:sp>
      <p:sp>
        <p:nvSpPr>
          <p:cNvPr id="194" name="TextBox 193"/>
          <p:cNvSpPr txBox="1"/>
          <p:nvPr/>
        </p:nvSpPr>
        <p:spPr>
          <a:xfrm>
            <a:off x="1209675" y="1226493"/>
            <a:ext cx="332142" cy="230832"/>
          </a:xfrm>
          <a:prstGeom prst="rect">
            <a:avLst/>
          </a:prstGeom>
          <a:noFill/>
        </p:spPr>
        <p:txBody>
          <a:bodyPr wrap="none" rtlCol="0">
            <a:spAutoFit/>
          </a:bodyPr>
          <a:lstStyle/>
          <a:p>
            <a:r>
              <a:rPr lang="en-US" sz="900" dirty="0" smtClean="0">
                <a:solidFill>
                  <a:schemeClr val="bg1"/>
                </a:solidFill>
              </a:rPr>
              <a:t>Jul</a:t>
            </a:r>
            <a:endParaRPr lang="en-US" sz="900" dirty="0">
              <a:solidFill>
                <a:schemeClr val="bg1"/>
              </a:solidFill>
            </a:endParaRPr>
          </a:p>
        </p:txBody>
      </p:sp>
      <p:sp>
        <p:nvSpPr>
          <p:cNvPr id="195" name="Rectangle 194"/>
          <p:cNvSpPr/>
          <p:nvPr/>
        </p:nvSpPr>
        <p:spPr>
          <a:xfrm>
            <a:off x="3149170" y="3353479"/>
            <a:ext cx="1559649" cy="249267"/>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1"/>
                </a:solidFill>
                <a:ea typeface="Verdana" pitchFamily="34" charset="0"/>
                <a:cs typeface="Verdana" pitchFamily="34" charset="0"/>
              </a:rPr>
              <a:t>Onboard </a:t>
            </a:r>
            <a:r>
              <a:rPr lang="en-US" sz="800" dirty="0" smtClean="0">
                <a:solidFill>
                  <a:schemeClr val="bg1"/>
                </a:solidFill>
                <a:ea typeface="Verdana" pitchFamily="34" charset="0"/>
                <a:cs typeface="Verdana" pitchFamily="34" charset="0"/>
              </a:rPr>
              <a:t>TBD</a:t>
            </a:r>
            <a:endParaRPr lang="en-US" sz="800" dirty="0">
              <a:solidFill>
                <a:schemeClr val="bg1"/>
              </a:solidFill>
              <a:ea typeface="Verdana" pitchFamily="34" charset="0"/>
              <a:cs typeface="Verdana" pitchFamily="34" charset="0"/>
            </a:endParaRPr>
          </a:p>
        </p:txBody>
      </p:sp>
      <p:sp>
        <p:nvSpPr>
          <p:cNvPr id="196" name="Rectangle 195"/>
          <p:cNvSpPr/>
          <p:nvPr/>
        </p:nvSpPr>
        <p:spPr>
          <a:xfrm>
            <a:off x="1590674" y="3024038"/>
            <a:ext cx="1981053" cy="252389"/>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1"/>
                </a:solidFill>
                <a:ea typeface="Verdana" pitchFamily="34" charset="0"/>
                <a:cs typeface="Verdana" pitchFamily="34" charset="0"/>
              </a:rPr>
              <a:t>Onboard </a:t>
            </a:r>
            <a:r>
              <a:rPr lang="en-US" sz="800" dirty="0" smtClean="0">
                <a:solidFill>
                  <a:schemeClr val="bg1"/>
                </a:solidFill>
                <a:ea typeface="Verdana" pitchFamily="34" charset="0"/>
                <a:cs typeface="Verdana" pitchFamily="34" charset="0"/>
              </a:rPr>
              <a:t>South Africa</a:t>
            </a:r>
            <a:endParaRPr lang="en-US" sz="800" dirty="0">
              <a:solidFill>
                <a:schemeClr val="bg1"/>
              </a:solidFill>
              <a:ea typeface="Verdana" pitchFamily="34" charset="0"/>
              <a:cs typeface="Verdana" pitchFamily="34" charset="0"/>
            </a:endParaRPr>
          </a:p>
        </p:txBody>
      </p:sp>
      <p:sp>
        <p:nvSpPr>
          <p:cNvPr id="197" name="TextBox 196"/>
          <p:cNvSpPr txBox="1"/>
          <p:nvPr/>
        </p:nvSpPr>
        <p:spPr>
          <a:xfrm>
            <a:off x="625920" y="1790700"/>
            <a:ext cx="1121640" cy="123111"/>
          </a:xfrm>
          <a:prstGeom prst="rect">
            <a:avLst/>
          </a:prstGeom>
          <a:noFill/>
        </p:spPr>
        <p:txBody>
          <a:bodyPr wrap="square" lIns="0" tIns="0" rIns="0" bIns="0" rtlCol="0">
            <a:spAutoFit/>
          </a:bodyPr>
          <a:lstStyle/>
          <a:p>
            <a:r>
              <a:rPr lang="en-US" sz="800" b="0" dirty="0" smtClean="0">
                <a:latin typeface="+mn-lt"/>
                <a:ea typeface="Verdana" pitchFamily="34" charset="0"/>
                <a:cs typeface="Verdana" pitchFamily="34" charset="0"/>
              </a:rPr>
              <a:t> Confirm Funding</a:t>
            </a:r>
          </a:p>
        </p:txBody>
      </p:sp>
      <p:sp>
        <p:nvSpPr>
          <p:cNvPr id="198" name="Rectangle 197"/>
          <p:cNvSpPr/>
          <p:nvPr/>
        </p:nvSpPr>
        <p:spPr>
          <a:xfrm>
            <a:off x="5773194" y="2126260"/>
            <a:ext cx="1456281" cy="244164"/>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1"/>
                </a:solidFill>
                <a:ea typeface="Verdana" pitchFamily="34" charset="0"/>
                <a:cs typeface="Verdana" pitchFamily="34" charset="0"/>
              </a:rPr>
              <a:t>R1.4 Enhancements Release</a:t>
            </a:r>
          </a:p>
        </p:txBody>
      </p:sp>
      <p:sp>
        <p:nvSpPr>
          <p:cNvPr id="199" name="Rectangle 198"/>
          <p:cNvSpPr/>
          <p:nvPr/>
        </p:nvSpPr>
        <p:spPr bwMode="auto">
          <a:xfrm>
            <a:off x="729561" y="1419225"/>
            <a:ext cx="2080314" cy="377055"/>
          </a:xfrm>
          <a:prstGeom prst="rect">
            <a:avLst/>
          </a:prstGeom>
          <a:noFill/>
          <a:ln w="6350" cap="flat" cmpd="sng" algn="ctr">
            <a:noFill/>
            <a:prstDash val="solid"/>
            <a:round/>
            <a:headEnd type="none" w="med" len="med"/>
            <a:tailEnd type="none" w="med" len="med"/>
          </a:ln>
          <a:effectLst/>
        </p:spPr>
        <p:txBody>
          <a:bodyPr vert="horz" wrap="square" lIns="80467" tIns="80467" rIns="80467" bIns="80467" numCol="1" rtlCol="0" anchor="t" anchorCtr="0" compatLnSpc="1">
            <a:prstTxWarp prst="textNoShape">
              <a:avLst/>
            </a:prstTxWarp>
            <a:noAutofit/>
          </a:bodyPr>
          <a:lstStyle/>
          <a:p>
            <a:pPr defTabSz="1005840" fontAlgn="base">
              <a:spcAft>
                <a:spcPts val="330"/>
              </a:spcAft>
            </a:pPr>
            <a:r>
              <a:rPr lang="en-US" sz="800" dirty="0">
                <a:ea typeface="Verdana" pitchFamily="34" charset="0"/>
                <a:cs typeface="Verdana" pitchFamily="34" charset="0"/>
              </a:rPr>
              <a:t>Global FA </a:t>
            </a:r>
            <a:r>
              <a:rPr lang="en-US" sz="800" dirty="0" smtClean="0">
                <a:ea typeface="Verdana" pitchFamily="34" charset="0"/>
                <a:cs typeface="Verdana" pitchFamily="34" charset="0"/>
              </a:rPr>
              <a:t>Executive Committee Meeting </a:t>
            </a:r>
            <a:endParaRPr lang="en-US" sz="800" dirty="0">
              <a:ea typeface="Verdana" pitchFamily="34" charset="0"/>
              <a:cs typeface="Verdana" pitchFamily="34" charset="0"/>
            </a:endParaRPr>
          </a:p>
        </p:txBody>
      </p:sp>
      <p:sp>
        <p:nvSpPr>
          <p:cNvPr id="200" name="Rectangle 199"/>
          <p:cNvSpPr/>
          <p:nvPr/>
        </p:nvSpPr>
        <p:spPr>
          <a:xfrm>
            <a:off x="2200274" y="4260003"/>
            <a:ext cx="6096001" cy="249733"/>
          </a:xfrm>
          <a:prstGeom prst="rect">
            <a:avLst/>
          </a:prstGeom>
          <a:solidFill>
            <a:srgbClr val="00A1DE"/>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1"/>
                </a:solidFill>
                <a:ea typeface="Verdana" pitchFamily="34" charset="0"/>
                <a:cs typeface="Verdana" pitchFamily="34" charset="0"/>
              </a:rPr>
              <a:t>E3 </a:t>
            </a:r>
            <a:r>
              <a:rPr lang="en-US" sz="800" dirty="0" smtClean="0">
                <a:solidFill>
                  <a:schemeClr val="bg1"/>
                </a:solidFill>
                <a:ea typeface="Verdana" pitchFamily="34" charset="0"/>
                <a:cs typeface="Verdana" pitchFamily="34" charset="0"/>
              </a:rPr>
              <a:t>and ValueD Synergies collaboration</a:t>
            </a:r>
            <a:endParaRPr lang="en-US" sz="800" dirty="0">
              <a:solidFill>
                <a:schemeClr val="bg1"/>
              </a:solidFill>
              <a:ea typeface="Verdana" pitchFamily="34" charset="0"/>
              <a:cs typeface="Verdana" pitchFamily="34" charset="0"/>
            </a:endParaRPr>
          </a:p>
        </p:txBody>
      </p:sp>
      <p:sp>
        <p:nvSpPr>
          <p:cNvPr id="201" name="Rectangle 200"/>
          <p:cNvSpPr/>
          <p:nvPr/>
        </p:nvSpPr>
        <p:spPr>
          <a:xfrm>
            <a:off x="2047817" y="4678453"/>
            <a:ext cx="954175" cy="288566"/>
          </a:xfrm>
          <a:prstGeom prst="rect">
            <a:avLst/>
          </a:prstGeom>
          <a:solidFill>
            <a:srgbClr val="92D050"/>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pPr>
            <a:r>
              <a:rPr lang="en-US" sz="800" dirty="0" smtClean="0">
                <a:solidFill>
                  <a:schemeClr val="tx1"/>
                </a:solidFill>
                <a:ea typeface="Verdana" pitchFamily="34" charset="0"/>
                <a:cs typeface="Verdana" pitchFamily="34" charset="0"/>
              </a:rPr>
              <a:t>Test </a:t>
            </a:r>
            <a:r>
              <a:rPr lang="en-US" sz="800" dirty="0">
                <a:solidFill>
                  <a:schemeClr val="tx1"/>
                </a:solidFill>
                <a:ea typeface="Verdana" pitchFamily="34" charset="0"/>
                <a:cs typeface="Verdana" pitchFamily="34" charset="0"/>
              </a:rPr>
              <a:t>Automation</a:t>
            </a:r>
          </a:p>
        </p:txBody>
      </p:sp>
      <p:sp>
        <p:nvSpPr>
          <p:cNvPr id="202" name="TextBox 201"/>
          <p:cNvSpPr txBox="1"/>
          <p:nvPr/>
        </p:nvSpPr>
        <p:spPr>
          <a:xfrm>
            <a:off x="3907967" y="5048250"/>
            <a:ext cx="883108" cy="461665"/>
          </a:xfrm>
          <a:prstGeom prst="rect">
            <a:avLst/>
          </a:prstGeom>
          <a:noFill/>
        </p:spPr>
        <p:txBody>
          <a:bodyPr wrap="square" rtlCol="0">
            <a:spAutoFit/>
          </a:bodyPr>
          <a:lstStyle/>
          <a:p>
            <a:pPr algn="ctr"/>
            <a:r>
              <a:rPr lang="en-US" sz="800" dirty="0">
                <a:ea typeface="Verdana" pitchFamily="34" charset="0"/>
                <a:cs typeface="Verdana" pitchFamily="34" charset="0"/>
              </a:rPr>
              <a:t>Framework 5.x</a:t>
            </a:r>
          </a:p>
          <a:p>
            <a:pPr algn="ctr"/>
            <a:r>
              <a:rPr lang="en-US" sz="800" dirty="0">
                <a:ea typeface="Verdana" pitchFamily="34" charset="0"/>
                <a:cs typeface="Verdana" pitchFamily="34" charset="0"/>
              </a:rPr>
              <a:t>Compatibility </a:t>
            </a:r>
          </a:p>
        </p:txBody>
      </p:sp>
      <p:sp>
        <p:nvSpPr>
          <p:cNvPr id="203" name="TextBox 202"/>
          <p:cNvSpPr txBox="1"/>
          <p:nvPr/>
        </p:nvSpPr>
        <p:spPr>
          <a:xfrm>
            <a:off x="6153064" y="5057775"/>
            <a:ext cx="924011" cy="461665"/>
          </a:xfrm>
          <a:prstGeom prst="rect">
            <a:avLst/>
          </a:prstGeom>
          <a:noFill/>
        </p:spPr>
        <p:txBody>
          <a:bodyPr wrap="square" rtlCol="0">
            <a:spAutoFit/>
          </a:bodyPr>
          <a:lstStyle/>
          <a:p>
            <a:pPr algn="ctr"/>
            <a:r>
              <a:rPr lang="en-US" sz="800" dirty="0">
                <a:ea typeface="Verdana" pitchFamily="34" charset="0"/>
                <a:cs typeface="Verdana" pitchFamily="34" charset="0"/>
              </a:rPr>
              <a:t>Framework 10.x</a:t>
            </a:r>
          </a:p>
          <a:p>
            <a:pPr algn="ctr"/>
            <a:r>
              <a:rPr lang="en-US" sz="800" dirty="0" smtClean="0">
                <a:ea typeface="Verdana" pitchFamily="34" charset="0"/>
                <a:cs typeface="Verdana" pitchFamily="34" charset="0"/>
              </a:rPr>
              <a:t>Compatibility</a:t>
            </a:r>
            <a:endParaRPr lang="en-US" sz="800" dirty="0">
              <a:ea typeface="Verdana" pitchFamily="34" charset="0"/>
              <a:cs typeface="Verdana" pitchFamily="34" charset="0"/>
            </a:endParaRPr>
          </a:p>
        </p:txBody>
      </p:sp>
      <p:graphicFrame>
        <p:nvGraphicFramePr>
          <p:cNvPr id="204" name="Table 203"/>
          <p:cNvGraphicFramePr>
            <a:graphicFrameLocks noGrp="1"/>
          </p:cNvGraphicFramePr>
          <p:nvPr>
            <p:extLst>
              <p:ext uri="{D42A27DB-BD31-4B8C-83A1-F6EECF244321}">
                <p14:modId xmlns:p14="http://schemas.microsoft.com/office/powerpoint/2010/main" val="1277584373"/>
              </p:ext>
            </p:extLst>
          </p:nvPr>
        </p:nvGraphicFramePr>
        <p:xfrm>
          <a:off x="142875" y="1439548"/>
          <a:ext cx="293003" cy="4208032"/>
        </p:xfrm>
        <a:graphic>
          <a:graphicData uri="http://schemas.openxmlformats.org/drawingml/2006/table">
            <a:tbl>
              <a:tblPr firstRow="1" bandRow="1">
                <a:tableStyleId>{5C22544A-7EE6-4342-B048-85BDC9FD1C3A}</a:tableStyleId>
              </a:tblPr>
              <a:tblGrid>
                <a:gridCol w="293003"/>
              </a:tblGrid>
              <a:tr h="3236920">
                <a:tc>
                  <a:txBody>
                    <a:bodyPr/>
                    <a:lstStyle/>
                    <a:p>
                      <a:pPr algn="ctr"/>
                      <a:r>
                        <a:rPr lang="en-US" sz="800" b="1" kern="1200" dirty="0" smtClean="0">
                          <a:solidFill>
                            <a:schemeClr val="bg1"/>
                          </a:solidFill>
                          <a:latin typeface="+mn-lt"/>
                          <a:ea typeface="+mn-ea"/>
                          <a:cs typeface="+mn-cs"/>
                        </a:rPr>
                        <a:t>Continuous Improvement</a:t>
                      </a:r>
                      <a:endParaRPr lang="en-US" sz="800" b="1" kern="1200" dirty="0">
                        <a:solidFill>
                          <a:schemeClr val="bg1"/>
                        </a:solidFill>
                        <a:latin typeface="+mn-lt"/>
                        <a:ea typeface="+mn-ea"/>
                        <a:cs typeface="+mn-cs"/>
                      </a:endParaRPr>
                    </a:p>
                  </a:txBody>
                  <a:tcPr vert="vert270">
                    <a:solidFill>
                      <a:schemeClr val="accent4"/>
                    </a:solidFill>
                  </a:tcPr>
                </a:tc>
              </a:tr>
              <a:tr h="971112">
                <a:tc>
                  <a:txBody>
                    <a:bodyPr/>
                    <a:lstStyle/>
                    <a:p>
                      <a:pPr marL="0" algn="ctr" defTabSz="687446" rtl="0" eaLnBrk="1" latinLnBrk="0" hangingPunct="1"/>
                      <a:r>
                        <a:rPr lang="en-US" sz="800" b="1" kern="1200" dirty="0" smtClean="0">
                          <a:solidFill>
                            <a:schemeClr val="bg1"/>
                          </a:solidFill>
                          <a:latin typeface="+mn-lt"/>
                          <a:ea typeface="+mn-ea"/>
                          <a:cs typeface="+mn-cs"/>
                        </a:rPr>
                        <a:t>Operational</a:t>
                      </a:r>
                      <a:endParaRPr lang="en-US" sz="800" b="1" kern="1200" dirty="0">
                        <a:solidFill>
                          <a:schemeClr val="bg1"/>
                        </a:solidFill>
                        <a:latin typeface="+mn-lt"/>
                        <a:ea typeface="+mn-ea"/>
                        <a:cs typeface="+mn-cs"/>
                      </a:endParaRPr>
                    </a:p>
                  </a:txBody>
                  <a:tcPr vert="vert270">
                    <a:solidFill>
                      <a:srgbClr val="002060"/>
                    </a:solidFill>
                  </a:tcPr>
                </a:tc>
              </a:tr>
            </a:tbl>
          </a:graphicData>
        </a:graphic>
      </p:graphicFrame>
      <p:cxnSp>
        <p:nvCxnSpPr>
          <p:cNvPr id="205" name="Straight Connector 204"/>
          <p:cNvCxnSpPr/>
          <p:nvPr/>
        </p:nvCxnSpPr>
        <p:spPr>
          <a:xfrm>
            <a:off x="435878" y="4554209"/>
            <a:ext cx="8045632" cy="14789"/>
          </a:xfrm>
          <a:prstGeom prst="line">
            <a:avLst/>
          </a:prstGeom>
        </p:spPr>
        <p:style>
          <a:lnRef idx="1">
            <a:schemeClr val="accent1"/>
          </a:lnRef>
          <a:fillRef idx="0">
            <a:schemeClr val="accent1"/>
          </a:fillRef>
          <a:effectRef idx="0">
            <a:schemeClr val="accent1"/>
          </a:effectRef>
          <a:fontRef idx="minor">
            <a:schemeClr val="tx1"/>
          </a:fontRef>
        </p:style>
      </p:cxnSp>
      <p:sp>
        <p:nvSpPr>
          <p:cNvPr id="206" name="Rectangle 205"/>
          <p:cNvSpPr/>
          <p:nvPr/>
        </p:nvSpPr>
        <p:spPr bwMode="auto">
          <a:xfrm>
            <a:off x="3571728" y="4638548"/>
            <a:ext cx="758952" cy="411480"/>
          </a:xfrm>
          <a:prstGeom prst="rect">
            <a:avLst/>
          </a:prstGeom>
          <a:solidFill>
            <a:srgbClr val="92D050"/>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07" indent="-8807" algn="ctr" defTabSz="1013977" fontAlgn="auto">
              <a:lnSpc>
                <a:spcPct val="110000"/>
              </a:lnSpc>
              <a:spcBef>
                <a:spcPts val="0"/>
              </a:spcBef>
              <a:spcAft>
                <a:spcPts val="0"/>
              </a:spcAft>
              <a:defRPr/>
            </a:pPr>
            <a:r>
              <a:rPr lang="en-US" sz="800" dirty="0">
                <a:ea typeface="Verdana" pitchFamily="34" charset="0"/>
                <a:cs typeface="Verdana" pitchFamily="34" charset="0"/>
              </a:rPr>
              <a:t>Bi-Annual Operational Assessment</a:t>
            </a:r>
          </a:p>
        </p:txBody>
      </p:sp>
      <p:sp>
        <p:nvSpPr>
          <p:cNvPr id="207" name="Rectangle 206"/>
          <p:cNvSpPr/>
          <p:nvPr/>
        </p:nvSpPr>
        <p:spPr bwMode="auto">
          <a:xfrm>
            <a:off x="5618889" y="4629078"/>
            <a:ext cx="758952" cy="411480"/>
          </a:xfrm>
          <a:prstGeom prst="rect">
            <a:avLst/>
          </a:prstGeom>
          <a:solidFill>
            <a:srgbClr val="92D050"/>
          </a:solidFill>
          <a:ln w="9525" cap="flat" cmpd="sng" algn="ctr">
            <a:solidFill>
              <a:srgbClr val="4066B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8807" indent="-8807" algn="ctr" defTabSz="1013977" fontAlgn="auto">
              <a:lnSpc>
                <a:spcPct val="110000"/>
              </a:lnSpc>
              <a:spcBef>
                <a:spcPts val="0"/>
              </a:spcBef>
              <a:spcAft>
                <a:spcPts val="0"/>
              </a:spcAft>
              <a:defRPr/>
            </a:pPr>
            <a:r>
              <a:rPr lang="en-US" sz="800" dirty="0">
                <a:ea typeface="Verdana" pitchFamily="34" charset="0"/>
                <a:cs typeface="Verdana" pitchFamily="34" charset="0"/>
              </a:rPr>
              <a:t>Bi-Annual Operational Assessment</a:t>
            </a:r>
          </a:p>
        </p:txBody>
      </p:sp>
      <p:sp>
        <p:nvSpPr>
          <p:cNvPr id="208" name="5-Point Star 207"/>
          <p:cNvSpPr/>
          <p:nvPr/>
        </p:nvSpPr>
        <p:spPr>
          <a:xfrm>
            <a:off x="723634" y="1564006"/>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09" name="5-Point Star 208"/>
          <p:cNvSpPr/>
          <p:nvPr/>
        </p:nvSpPr>
        <p:spPr>
          <a:xfrm>
            <a:off x="6162675" y="5191125"/>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0" name="5-Point Star 209"/>
          <p:cNvSpPr/>
          <p:nvPr/>
        </p:nvSpPr>
        <p:spPr>
          <a:xfrm>
            <a:off x="3905312" y="5201261"/>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1" name="5-Point Star 210"/>
          <p:cNvSpPr/>
          <p:nvPr/>
        </p:nvSpPr>
        <p:spPr>
          <a:xfrm>
            <a:off x="561310" y="1800225"/>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2" name="Rectangle 211"/>
          <p:cNvSpPr/>
          <p:nvPr/>
        </p:nvSpPr>
        <p:spPr>
          <a:xfrm>
            <a:off x="618600" y="2524125"/>
            <a:ext cx="7601475" cy="1653029"/>
          </a:xfrm>
          <a:prstGeom prst="rect">
            <a:avLst/>
          </a:prstGeom>
          <a:noFill/>
          <a:ln>
            <a:solidFill>
              <a:srgbClr val="BFBFB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TextBox 212"/>
          <p:cNvSpPr txBox="1"/>
          <p:nvPr/>
        </p:nvSpPr>
        <p:spPr>
          <a:xfrm>
            <a:off x="2529675" y="5267325"/>
            <a:ext cx="1121640" cy="123111"/>
          </a:xfrm>
          <a:prstGeom prst="rect">
            <a:avLst/>
          </a:prstGeom>
          <a:noFill/>
        </p:spPr>
        <p:txBody>
          <a:bodyPr wrap="square" lIns="0" tIns="0" rIns="0" bIns="0" rtlCol="0">
            <a:spAutoFit/>
          </a:bodyPr>
          <a:lstStyle/>
          <a:p>
            <a:r>
              <a:rPr lang="en-US" sz="800" dirty="0" smtClean="0">
                <a:ea typeface="Verdana" pitchFamily="34" charset="0"/>
                <a:cs typeface="Verdana" pitchFamily="34" charset="0"/>
              </a:rPr>
              <a:t>Tableau Upgrade</a:t>
            </a:r>
            <a:endParaRPr lang="en-US" sz="800" b="0" dirty="0" smtClean="0">
              <a:ea typeface="Verdana" pitchFamily="34" charset="0"/>
              <a:cs typeface="Verdana" pitchFamily="34" charset="0"/>
            </a:endParaRPr>
          </a:p>
        </p:txBody>
      </p:sp>
      <p:sp>
        <p:nvSpPr>
          <p:cNvPr id="214" name="5-Point Star 213"/>
          <p:cNvSpPr/>
          <p:nvPr/>
        </p:nvSpPr>
        <p:spPr>
          <a:xfrm>
            <a:off x="2440465" y="5273366"/>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5" name="TextBox 214"/>
          <p:cNvSpPr txBox="1"/>
          <p:nvPr/>
        </p:nvSpPr>
        <p:spPr>
          <a:xfrm>
            <a:off x="7425485" y="5309771"/>
            <a:ext cx="1121640" cy="123111"/>
          </a:xfrm>
          <a:prstGeom prst="rect">
            <a:avLst/>
          </a:prstGeom>
          <a:noFill/>
        </p:spPr>
        <p:txBody>
          <a:bodyPr wrap="square" lIns="0" tIns="0" rIns="0" bIns="0" rtlCol="0">
            <a:spAutoFit/>
          </a:bodyPr>
          <a:lstStyle/>
          <a:p>
            <a:r>
              <a:rPr lang="en-US" sz="800" b="0" dirty="0" smtClean="0">
                <a:latin typeface="+mn-lt"/>
                <a:ea typeface="Verdana" pitchFamily="34" charset="0"/>
                <a:cs typeface="Verdana" pitchFamily="34" charset="0"/>
              </a:rPr>
              <a:t>Tableau Upgrade</a:t>
            </a:r>
          </a:p>
        </p:txBody>
      </p:sp>
      <p:sp>
        <p:nvSpPr>
          <p:cNvPr id="216" name="5-Point Star 215"/>
          <p:cNvSpPr/>
          <p:nvPr/>
        </p:nvSpPr>
        <p:spPr>
          <a:xfrm>
            <a:off x="7338625" y="5309771"/>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7" name="TextBox 216"/>
          <p:cNvSpPr txBox="1"/>
          <p:nvPr/>
        </p:nvSpPr>
        <p:spPr>
          <a:xfrm>
            <a:off x="3517035" y="5467466"/>
            <a:ext cx="1121640" cy="123111"/>
          </a:xfrm>
          <a:prstGeom prst="rect">
            <a:avLst/>
          </a:prstGeom>
          <a:noFill/>
        </p:spPr>
        <p:txBody>
          <a:bodyPr wrap="square" lIns="0" tIns="0" rIns="0" bIns="0" rtlCol="0">
            <a:spAutoFit/>
          </a:bodyPr>
          <a:lstStyle/>
          <a:p>
            <a:r>
              <a:rPr lang="en-US" sz="800" dirty="0" smtClean="0">
                <a:ea typeface="Verdana" pitchFamily="34" charset="0"/>
                <a:cs typeface="Verdana" pitchFamily="34" charset="0"/>
              </a:rPr>
              <a:t>Pen Testing</a:t>
            </a:r>
            <a:endParaRPr lang="en-US" sz="800" b="0" dirty="0" smtClean="0">
              <a:ea typeface="Verdana" pitchFamily="34" charset="0"/>
              <a:cs typeface="Verdana" pitchFamily="34" charset="0"/>
            </a:endParaRPr>
          </a:p>
        </p:txBody>
      </p:sp>
      <p:sp>
        <p:nvSpPr>
          <p:cNvPr id="218" name="5-Point Star 217"/>
          <p:cNvSpPr/>
          <p:nvPr/>
        </p:nvSpPr>
        <p:spPr>
          <a:xfrm>
            <a:off x="3425201" y="5470538"/>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9" name="Rectangle 218"/>
          <p:cNvSpPr/>
          <p:nvPr/>
        </p:nvSpPr>
        <p:spPr>
          <a:xfrm>
            <a:off x="618600" y="2066925"/>
            <a:ext cx="2191275" cy="365908"/>
          </a:xfrm>
          <a:prstGeom prst="rect">
            <a:avLst/>
          </a:prstGeom>
          <a:noFill/>
          <a:ln>
            <a:solidFill>
              <a:srgbClr val="BFBFB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Rectangle 219"/>
          <p:cNvSpPr/>
          <p:nvPr/>
        </p:nvSpPr>
        <p:spPr>
          <a:xfrm>
            <a:off x="7127016" y="4700005"/>
            <a:ext cx="910594" cy="288566"/>
          </a:xfrm>
          <a:prstGeom prst="rect">
            <a:avLst/>
          </a:prstGeom>
          <a:solidFill>
            <a:srgbClr val="92D050"/>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pPr>
            <a:r>
              <a:rPr lang="en-US" sz="800" dirty="0" smtClean="0">
                <a:solidFill>
                  <a:schemeClr val="tx1"/>
                </a:solidFill>
                <a:ea typeface="Verdana" pitchFamily="34" charset="0"/>
                <a:cs typeface="Verdana" pitchFamily="34" charset="0"/>
              </a:rPr>
              <a:t>Test </a:t>
            </a:r>
            <a:r>
              <a:rPr lang="en-US" sz="800" dirty="0">
                <a:solidFill>
                  <a:schemeClr val="tx1"/>
                </a:solidFill>
                <a:ea typeface="Verdana" pitchFamily="34" charset="0"/>
                <a:cs typeface="Verdana" pitchFamily="34" charset="0"/>
              </a:rPr>
              <a:t>Automation</a:t>
            </a:r>
          </a:p>
        </p:txBody>
      </p:sp>
      <p:sp>
        <p:nvSpPr>
          <p:cNvPr id="221" name="Rectangle 220"/>
          <p:cNvSpPr/>
          <p:nvPr/>
        </p:nvSpPr>
        <p:spPr>
          <a:xfrm>
            <a:off x="4746929" y="3652409"/>
            <a:ext cx="1347771" cy="243389"/>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bg1"/>
                </a:solidFill>
                <a:ea typeface="Verdana" pitchFamily="34" charset="0"/>
                <a:cs typeface="Verdana" pitchFamily="34" charset="0"/>
              </a:rPr>
              <a:t>Onboard TBD</a:t>
            </a:r>
            <a:endParaRPr lang="en-US" sz="800" dirty="0">
              <a:solidFill>
                <a:schemeClr val="bg1"/>
              </a:solidFill>
              <a:ea typeface="Verdana" pitchFamily="34" charset="0"/>
              <a:cs typeface="Verdana" pitchFamily="34" charset="0"/>
            </a:endParaRPr>
          </a:p>
        </p:txBody>
      </p:sp>
      <p:sp>
        <p:nvSpPr>
          <p:cNvPr id="222" name="TextBox 221"/>
          <p:cNvSpPr txBox="1"/>
          <p:nvPr/>
        </p:nvSpPr>
        <p:spPr>
          <a:xfrm>
            <a:off x="621435" y="4687014"/>
            <a:ext cx="1121640" cy="123111"/>
          </a:xfrm>
          <a:prstGeom prst="rect">
            <a:avLst/>
          </a:prstGeom>
          <a:noFill/>
        </p:spPr>
        <p:txBody>
          <a:bodyPr wrap="square" lIns="0" tIns="0" rIns="0" bIns="0" rtlCol="0">
            <a:spAutoFit/>
          </a:bodyPr>
          <a:lstStyle/>
          <a:p>
            <a:r>
              <a:rPr lang="en-US" sz="800" dirty="0" smtClean="0">
                <a:ea typeface="Verdana" pitchFamily="34" charset="0"/>
                <a:cs typeface="Verdana" pitchFamily="34" charset="0"/>
              </a:rPr>
              <a:t> Akamai Performance</a:t>
            </a:r>
            <a:endParaRPr lang="en-US" sz="800" b="0" dirty="0" smtClean="0">
              <a:ea typeface="Verdana" pitchFamily="34" charset="0"/>
              <a:cs typeface="Verdana" pitchFamily="34" charset="0"/>
            </a:endParaRPr>
          </a:p>
        </p:txBody>
      </p:sp>
      <p:sp>
        <p:nvSpPr>
          <p:cNvPr id="223" name="5-Point Star 222"/>
          <p:cNvSpPr/>
          <p:nvPr/>
        </p:nvSpPr>
        <p:spPr>
          <a:xfrm>
            <a:off x="532225" y="4693055"/>
            <a:ext cx="47367"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24" name="Rectangle 223"/>
          <p:cNvSpPr/>
          <p:nvPr/>
        </p:nvSpPr>
        <p:spPr>
          <a:xfrm>
            <a:off x="5697292" y="2066925"/>
            <a:ext cx="1641333" cy="380149"/>
          </a:xfrm>
          <a:prstGeom prst="rect">
            <a:avLst/>
          </a:prstGeom>
          <a:noFill/>
          <a:ln>
            <a:solidFill>
              <a:srgbClr val="BFBFB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Rectangle 225"/>
          <p:cNvSpPr/>
          <p:nvPr/>
        </p:nvSpPr>
        <p:spPr>
          <a:xfrm>
            <a:off x="6227905" y="3885607"/>
            <a:ext cx="1347771" cy="243389"/>
          </a:xfrm>
          <a:prstGeom prst="rect">
            <a:avLst/>
          </a:prstGeom>
          <a:solidFill>
            <a:srgbClr val="00A1DE"/>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solidFill>
                  <a:schemeClr val="bg1"/>
                </a:solidFill>
                <a:ea typeface="Verdana" pitchFamily="34" charset="0"/>
                <a:cs typeface="Verdana" pitchFamily="34" charset="0"/>
              </a:rPr>
              <a:t>Onboard TBD</a:t>
            </a:r>
            <a:endParaRPr lang="en-US" sz="800" dirty="0">
              <a:solidFill>
                <a:schemeClr val="bg1"/>
              </a:solidFill>
              <a:ea typeface="Verdana" pitchFamily="34" charset="0"/>
              <a:cs typeface="Verdana" pitchFamily="34" charset="0"/>
            </a:endParaRPr>
          </a:p>
        </p:txBody>
      </p:sp>
      <p:graphicFrame>
        <p:nvGraphicFramePr>
          <p:cNvPr id="227" name="Table 226"/>
          <p:cNvGraphicFramePr>
            <a:graphicFrameLocks noGrp="1"/>
          </p:cNvGraphicFramePr>
          <p:nvPr>
            <p:extLst>
              <p:ext uri="{D42A27DB-BD31-4B8C-83A1-F6EECF244321}">
                <p14:modId xmlns:p14="http://schemas.microsoft.com/office/powerpoint/2010/main" val="2472146645"/>
              </p:ext>
            </p:extLst>
          </p:nvPr>
        </p:nvGraphicFramePr>
        <p:xfrm>
          <a:off x="6010480" y="314134"/>
          <a:ext cx="2400096" cy="387368"/>
        </p:xfrm>
        <a:graphic>
          <a:graphicData uri="http://schemas.openxmlformats.org/drawingml/2006/table">
            <a:tbl>
              <a:tblPr firstRow="1" bandRow="1"/>
              <a:tblGrid>
                <a:gridCol w="1363921"/>
                <a:gridCol w="1036175"/>
              </a:tblGrid>
              <a:tr h="204488">
                <a:tc>
                  <a:txBody>
                    <a:bodyPr/>
                    <a:lstStyle>
                      <a:lvl1pPr marL="0" algn="l" defTabSz="687446" rtl="0" eaLnBrk="1" latinLnBrk="0" hangingPunct="1">
                        <a:defRPr sz="1400" b="1" kern="1200">
                          <a:solidFill>
                            <a:schemeClr val="lt1"/>
                          </a:solidFill>
                          <a:latin typeface="Arial"/>
                        </a:defRPr>
                      </a:lvl1pPr>
                      <a:lvl2pPr marL="343723" algn="l" defTabSz="687446" rtl="0" eaLnBrk="1" latinLnBrk="0" hangingPunct="1">
                        <a:defRPr sz="1400" b="1" kern="1200">
                          <a:solidFill>
                            <a:schemeClr val="lt1"/>
                          </a:solidFill>
                          <a:latin typeface="Arial"/>
                        </a:defRPr>
                      </a:lvl2pPr>
                      <a:lvl3pPr marL="687446" algn="l" defTabSz="687446" rtl="0" eaLnBrk="1" latinLnBrk="0" hangingPunct="1">
                        <a:defRPr sz="1400" b="1" kern="1200">
                          <a:solidFill>
                            <a:schemeClr val="lt1"/>
                          </a:solidFill>
                          <a:latin typeface="Arial"/>
                        </a:defRPr>
                      </a:lvl3pPr>
                      <a:lvl4pPr marL="1031169" algn="l" defTabSz="687446" rtl="0" eaLnBrk="1" latinLnBrk="0" hangingPunct="1">
                        <a:defRPr sz="1400" b="1" kern="1200">
                          <a:solidFill>
                            <a:schemeClr val="lt1"/>
                          </a:solidFill>
                          <a:latin typeface="Arial"/>
                        </a:defRPr>
                      </a:lvl4pPr>
                      <a:lvl5pPr marL="1374892" algn="l" defTabSz="687446" rtl="0" eaLnBrk="1" latinLnBrk="0" hangingPunct="1">
                        <a:defRPr sz="1400" b="1" kern="1200">
                          <a:solidFill>
                            <a:schemeClr val="lt1"/>
                          </a:solidFill>
                          <a:latin typeface="Arial"/>
                        </a:defRPr>
                      </a:lvl5pPr>
                      <a:lvl6pPr marL="1718615" algn="l" defTabSz="687446" rtl="0" eaLnBrk="1" latinLnBrk="0" hangingPunct="1">
                        <a:defRPr sz="1400" b="1" kern="1200">
                          <a:solidFill>
                            <a:schemeClr val="lt1"/>
                          </a:solidFill>
                          <a:latin typeface="Arial"/>
                        </a:defRPr>
                      </a:lvl6pPr>
                      <a:lvl7pPr marL="2062338" algn="l" defTabSz="687446" rtl="0" eaLnBrk="1" latinLnBrk="0" hangingPunct="1">
                        <a:defRPr sz="1400" b="1" kern="1200">
                          <a:solidFill>
                            <a:schemeClr val="lt1"/>
                          </a:solidFill>
                          <a:latin typeface="Arial"/>
                        </a:defRPr>
                      </a:lvl7pPr>
                      <a:lvl8pPr marL="2406061" algn="l" defTabSz="687446" rtl="0" eaLnBrk="1" latinLnBrk="0" hangingPunct="1">
                        <a:defRPr sz="1400" b="1" kern="1200">
                          <a:solidFill>
                            <a:schemeClr val="lt1"/>
                          </a:solidFill>
                          <a:latin typeface="Arial"/>
                        </a:defRPr>
                      </a:lvl8pPr>
                      <a:lvl9pPr marL="2749784" algn="l" defTabSz="687446" rtl="0" eaLnBrk="1" latinLnBrk="0" hangingPunct="1">
                        <a:defRPr sz="1400" b="1" kern="1200">
                          <a:solidFill>
                            <a:schemeClr val="lt1"/>
                          </a:solidFill>
                          <a:latin typeface="Arial"/>
                        </a:defRPr>
                      </a:lvl9pPr>
                    </a:lstStyle>
                    <a:p>
                      <a:pPr algn="ctr"/>
                      <a:r>
                        <a:rPr lang="en-US" sz="600" b="0" dirty="0" smtClean="0">
                          <a:solidFill>
                            <a:srgbClr val="002060"/>
                          </a:solidFill>
                        </a:rPr>
                        <a:t>Ongoing</a:t>
                      </a:r>
                      <a:r>
                        <a:rPr lang="en-US" sz="600" b="0" baseline="0" dirty="0" smtClean="0">
                          <a:solidFill>
                            <a:srgbClr val="002060"/>
                          </a:solidFill>
                        </a:rPr>
                        <a:t> Operations</a:t>
                      </a:r>
                      <a:endParaRPr lang="en-US" sz="600" b="0" dirty="0">
                        <a:solidFill>
                          <a:srgbClr val="002060"/>
                        </a:solidFill>
                      </a:endParaRPr>
                    </a:p>
                  </a:txBody>
                  <a:tcP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2060"/>
                      </a:solidFill>
                      <a:prstDash val="solid"/>
                      <a:round/>
                      <a:headEnd type="none" w="med" len="med"/>
                      <a:tailEnd type="none" w="med" len="med"/>
                    </a:lnT>
                    <a:lnB w="635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687446" rtl="0" eaLnBrk="1" latinLnBrk="0" hangingPunct="1">
                        <a:defRPr sz="1400" b="1" kern="1200">
                          <a:solidFill>
                            <a:schemeClr val="lt1"/>
                          </a:solidFill>
                          <a:latin typeface="Arial"/>
                        </a:defRPr>
                      </a:lvl1pPr>
                      <a:lvl2pPr marL="343723" algn="l" defTabSz="687446" rtl="0" eaLnBrk="1" latinLnBrk="0" hangingPunct="1">
                        <a:defRPr sz="1400" b="1" kern="1200">
                          <a:solidFill>
                            <a:schemeClr val="lt1"/>
                          </a:solidFill>
                          <a:latin typeface="Arial"/>
                        </a:defRPr>
                      </a:lvl2pPr>
                      <a:lvl3pPr marL="687446" algn="l" defTabSz="687446" rtl="0" eaLnBrk="1" latinLnBrk="0" hangingPunct="1">
                        <a:defRPr sz="1400" b="1" kern="1200">
                          <a:solidFill>
                            <a:schemeClr val="lt1"/>
                          </a:solidFill>
                          <a:latin typeface="Arial"/>
                        </a:defRPr>
                      </a:lvl3pPr>
                      <a:lvl4pPr marL="1031169" algn="l" defTabSz="687446" rtl="0" eaLnBrk="1" latinLnBrk="0" hangingPunct="1">
                        <a:defRPr sz="1400" b="1" kern="1200">
                          <a:solidFill>
                            <a:schemeClr val="lt1"/>
                          </a:solidFill>
                          <a:latin typeface="Arial"/>
                        </a:defRPr>
                      </a:lvl4pPr>
                      <a:lvl5pPr marL="1374892" algn="l" defTabSz="687446" rtl="0" eaLnBrk="1" latinLnBrk="0" hangingPunct="1">
                        <a:defRPr sz="1400" b="1" kern="1200">
                          <a:solidFill>
                            <a:schemeClr val="lt1"/>
                          </a:solidFill>
                          <a:latin typeface="Arial"/>
                        </a:defRPr>
                      </a:lvl5pPr>
                      <a:lvl6pPr marL="1718615" algn="l" defTabSz="687446" rtl="0" eaLnBrk="1" latinLnBrk="0" hangingPunct="1">
                        <a:defRPr sz="1400" b="1" kern="1200">
                          <a:solidFill>
                            <a:schemeClr val="lt1"/>
                          </a:solidFill>
                          <a:latin typeface="Arial"/>
                        </a:defRPr>
                      </a:lvl6pPr>
                      <a:lvl7pPr marL="2062338" algn="l" defTabSz="687446" rtl="0" eaLnBrk="1" latinLnBrk="0" hangingPunct="1">
                        <a:defRPr sz="1400" b="1" kern="1200">
                          <a:solidFill>
                            <a:schemeClr val="lt1"/>
                          </a:solidFill>
                          <a:latin typeface="Arial"/>
                        </a:defRPr>
                      </a:lvl7pPr>
                      <a:lvl8pPr marL="2406061" algn="l" defTabSz="687446" rtl="0" eaLnBrk="1" latinLnBrk="0" hangingPunct="1">
                        <a:defRPr sz="1400" b="1" kern="1200">
                          <a:solidFill>
                            <a:schemeClr val="lt1"/>
                          </a:solidFill>
                          <a:latin typeface="Arial"/>
                        </a:defRPr>
                      </a:lvl8pPr>
                      <a:lvl9pPr marL="2749784" algn="l" defTabSz="687446" rtl="0" eaLnBrk="1" latinLnBrk="0" hangingPunct="1">
                        <a:defRPr sz="1400" b="1" kern="1200">
                          <a:solidFill>
                            <a:schemeClr val="lt1"/>
                          </a:solidFill>
                          <a:latin typeface="Arial"/>
                        </a:defRPr>
                      </a:lvl9pPr>
                    </a:lstStyle>
                    <a:p>
                      <a:pPr algn="ctr"/>
                      <a:r>
                        <a:rPr lang="en-US" sz="600" b="0" dirty="0" smtClean="0">
                          <a:solidFill>
                            <a:schemeClr val="bg1"/>
                          </a:solidFill>
                        </a:rPr>
                        <a:t>Proposed/Planned</a:t>
                      </a:r>
                      <a:endParaRPr lang="en-US" sz="600" b="0" dirty="0">
                        <a:solidFill>
                          <a:schemeClr val="bg1"/>
                        </a:solidFill>
                      </a:endParaRPr>
                    </a:p>
                  </a:txBody>
                  <a:tcPr>
                    <a:lnL w="6350" cap="flat" cmpd="sng" algn="ctr">
                      <a:solidFill>
                        <a:srgbClr val="002060"/>
                      </a:solidFill>
                      <a:prstDash val="solid"/>
                      <a:round/>
                      <a:headEnd type="none" w="med" len="med"/>
                      <a:tailEnd type="none" w="med" len="med"/>
                    </a:lnL>
                    <a:lnR w="6350" cap="flat" cmpd="sng" algn="ctr">
                      <a:solidFill>
                        <a:srgbClr val="002060"/>
                      </a:solidFill>
                      <a:prstDash val="solid"/>
                      <a:round/>
                      <a:headEnd type="none" w="med" len="med"/>
                      <a:tailEnd type="none" w="med" len="med"/>
                    </a:lnR>
                    <a:lnT w="6350" cap="flat" cmpd="sng" algn="ctr">
                      <a:solidFill>
                        <a:srgbClr val="002060"/>
                      </a:solidFill>
                      <a:prstDash val="solid"/>
                      <a:round/>
                      <a:headEnd type="none" w="med" len="med"/>
                      <a:tailEnd type="none" w="med" len="med"/>
                    </a:lnT>
                    <a:lnB w="635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r>
              <a:tr h="167596">
                <a:tc gridSpan="2">
                  <a:txBody>
                    <a:bodyPr/>
                    <a:lstStyle>
                      <a:lvl1pPr marL="0" algn="l" defTabSz="687446" rtl="0" eaLnBrk="1" latinLnBrk="0" hangingPunct="1">
                        <a:defRPr sz="1400" kern="1200">
                          <a:solidFill>
                            <a:schemeClr val="dk1"/>
                          </a:solidFill>
                          <a:latin typeface="Arial"/>
                        </a:defRPr>
                      </a:lvl1pPr>
                      <a:lvl2pPr marL="343723" algn="l" defTabSz="687446" rtl="0" eaLnBrk="1" latinLnBrk="0" hangingPunct="1">
                        <a:defRPr sz="1400" kern="1200">
                          <a:solidFill>
                            <a:schemeClr val="dk1"/>
                          </a:solidFill>
                          <a:latin typeface="Arial"/>
                        </a:defRPr>
                      </a:lvl2pPr>
                      <a:lvl3pPr marL="687446" algn="l" defTabSz="687446" rtl="0" eaLnBrk="1" latinLnBrk="0" hangingPunct="1">
                        <a:defRPr sz="1400" kern="1200">
                          <a:solidFill>
                            <a:schemeClr val="dk1"/>
                          </a:solidFill>
                          <a:latin typeface="Arial"/>
                        </a:defRPr>
                      </a:lvl3pPr>
                      <a:lvl4pPr marL="1031169" algn="l" defTabSz="687446" rtl="0" eaLnBrk="1" latinLnBrk="0" hangingPunct="1">
                        <a:defRPr sz="1400" kern="1200">
                          <a:solidFill>
                            <a:schemeClr val="dk1"/>
                          </a:solidFill>
                          <a:latin typeface="Arial"/>
                        </a:defRPr>
                      </a:lvl4pPr>
                      <a:lvl5pPr marL="1374892" algn="l" defTabSz="687446" rtl="0" eaLnBrk="1" latinLnBrk="0" hangingPunct="1">
                        <a:defRPr sz="1400" kern="1200">
                          <a:solidFill>
                            <a:schemeClr val="dk1"/>
                          </a:solidFill>
                          <a:latin typeface="Arial"/>
                        </a:defRPr>
                      </a:lvl5pPr>
                      <a:lvl6pPr marL="1718615" algn="l" defTabSz="687446" rtl="0" eaLnBrk="1" latinLnBrk="0" hangingPunct="1">
                        <a:defRPr sz="1400" kern="1200">
                          <a:solidFill>
                            <a:schemeClr val="dk1"/>
                          </a:solidFill>
                          <a:latin typeface="Arial"/>
                        </a:defRPr>
                      </a:lvl6pPr>
                      <a:lvl7pPr marL="2062338" algn="l" defTabSz="687446" rtl="0" eaLnBrk="1" latinLnBrk="0" hangingPunct="1">
                        <a:defRPr sz="1400" kern="1200">
                          <a:solidFill>
                            <a:schemeClr val="dk1"/>
                          </a:solidFill>
                          <a:latin typeface="Arial"/>
                        </a:defRPr>
                      </a:lvl7pPr>
                      <a:lvl8pPr marL="2406061" algn="l" defTabSz="687446" rtl="0" eaLnBrk="1" latinLnBrk="0" hangingPunct="1">
                        <a:defRPr sz="1400" kern="1200">
                          <a:solidFill>
                            <a:schemeClr val="dk1"/>
                          </a:solidFill>
                          <a:latin typeface="Arial"/>
                        </a:defRPr>
                      </a:lvl8pPr>
                      <a:lvl9pPr marL="2749784" algn="l" defTabSz="687446" rtl="0" eaLnBrk="1" latinLnBrk="0" hangingPunct="1">
                        <a:defRPr sz="1400" kern="1200">
                          <a:solidFill>
                            <a:schemeClr val="dk1"/>
                          </a:solidFill>
                          <a:latin typeface="Arial"/>
                        </a:defRPr>
                      </a:lvl9pPr>
                    </a:lstStyle>
                    <a:p>
                      <a:pPr algn="l"/>
                      <a:r>
                        <a:rPr lang="en-US" sz="600" baseline="0" dirty="0" smtClean="0"/>
                        <a:t>      </a:t>
                      </a:r>
                      <a:r>
                        <a:rPr lang="en-US" sz="600" dirty="0" smtClean="0"/>
                        <a:t>Milestone</a:t>
                      </a:r>
                    </a:p>
                  </a:txBody>
                  <a:tcPr>
                    <a:lnL w="12700" cmpd="sng">
                      <a:noFill/>
                    </a:lnL>
                    <a:lnR w="12700" cmpd="sng">
                      <a:noFill/>
                    </a:lnR>
                    <a:lnT w="6350"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hMerge="1">
                  <a:txBody>
                    <a:bodyPr/>
                    <a:lstStyle/>
                    <a:p>
                      <a:pPr algn="ctr"/>
                      <a:endParaRPr lang="en-US" sz="800" dirty="0" smtClean="0"/>
                    </a:p>
                  </a:txBody>
                  <a:tcPr>
                    <a:lnL w="12700" cmpd="sng">
                      <a:noFill/>
                    </a:lnL>
                    <a:lnR w="12700" cmpd="sng">
                      <a:noFill/>
                    </a:lnR>
                    <a:lnT w="12700"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sp>
        <p:nvSpPr>
          <p:cNvPr id="228" name="5-Point Star 227"/>
          <p:cNvSpPr/>
          <p:nvPr/>
        </p:nvSpPr>
        <p:spPr>
          <a:xfrm>
            <a:off x="6075470" y="554283"/>
            <a:ext cx="52443" cy="45719"/>
          </a:xfrm>
          <a:prstGeom prst="star5">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29" name="Isosceles Triangle 228"/>
          <p:cNvSpPr/>
          <p:nvPr/>
        </p:nvSpPr>
        <p:spPr bwMode="auto">
          <a:xfrm>
            <a:off x="6782213" y="541080"/>
            <a:ext cx="108963" cy="97638"/>
          </a:xfrm>
          <a:prstGeom prst="triangle">
            <a:avLst/>
          </a:prstGeom>
          <a:solidFill>
            <a:srgbClr val="FF0000"/>
          </a:solidFill>
          <a:ln w="6350" cap="flat" cmpd="sng" algn="ctr">
            <a:solidFill>
              <a:schemeClr val="accent3"/>
            </a:solidFill>
            <a:prstDash val="solid"/>
            <a:round/>
            <a:headEnd type="none" w="med" len="med"/>
            <a:tailEnd type="none" w="med" len="med"/>
          </a:ln>
          <a:effectLst/>
        </p:spPr>
        <p:txBody>
          <a:bodyPr vert="horz" wrap="square" lIns="80467" tIns="80467" rIns="80467" bIns="80467" numCol="1" rtlCol="0" anchor="t" anchorCtr="0" compatLnSpc="1">
            <a:prstTxWarp prst="textNoShape">
              <a:avLst/>
            </a:prstTxWarp>
            <a:noAutofit/>
          </a:bodyPr>
          <a:lstStyle/>
          <a:p>
            <a:pPr defTabSz="1005840" fontAlgn="base">
              <a:spcAft>
                <a:spcPts val="330"/>
              </a:spcAft>
            </a:pPr>
            <a:endParaRPr lang="en-US" sz="1100" b="1" dirty="0">
              <a:solidFill>
                <a:schemeClr val="accent3">
                  <a:lumMod val="75000"/>
                </a:schemeClr>
              </a:solidFill>
            </a:endParaRPr>
          </a:p>
        </p:txBody>
      </p:sp>
      <p:sp>
        <p:nvSpPr>
          <p:cNvPr id="230" name="Rectangle 229"/>
          <p:cNvSpPr/>
          <p:nvPr/>
        </p:nvSpPr>
        <p:spPr>
          <a:xfrm>
            <a:off x="6836694" y="510659"/>
            <a:ext cx="482824" cy="184666"/>
          </a:xfrm>
          <a:prstGeom prst="rect">
            <a:avLst/>
          </a:prstGeom>
        </p:spPr>
        <p:txBody>
          <a:bodyPr wrap="none">
            <a:spAutoFit/>
          </a:bodyPr>
          <a:lstStyle/>
          <a:p>
            <a:r>
              <a:rPr lang="en-US" sz="600" dirty="0" smtClean="0"/>
              <a:t>Decision</a:t>
            </a:r>
            <a:endParaRPr lang="en-US" sz="600" dirty="0"/>
          </a:p>
        </p:txBody>
      </p:sp>
    </p:spTree>
    <p:extLst>
      <p:ext uri="{BB962C8B-B14F-4D97-AF65-F5344CB8AC3E}">
        <p14:creationId xmlns:p14="http://schemas.microsoft.com/office/powerpoint/2010/main" val="289834309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ppendix</a:t>
            </a:r>
            <a:endParaRPr lang="en-US" dirty="0"/>
          </a:p>
        </p:txBody>
      </p:sp>
      <p:sp>
        <p:nvSpPr>
          <p:cNvPr id="6" name="Rectangle 5"/>
          <p:cNvSpPr/>
          <p:nvPr/>
        </p:nvSpPr>
        <p:spPr>
          <a:xfrm>
            <a:off x="235557" y="6243956"/>
            <a:ext cx="3151825" cy="196208"/>
          </a:xfrm>
          <a:prstGeom prst="rect">
            <a:avLst/>
          </a:prstGeom>
        </p:spPr>
        <p:txBody>
          <a:bodyPr wrap="none">
            <a:spAutoFit/>
          </a:bodyPr>
          <a:lstStyle/>
          <a:p>
            <a:pPr lvl="0">
              <a:spcAft>
                <a:spcPts val="451"/>
              </a:spcAft>
              <a:buSzPct val="100000"/>
            </a:pPr>
            <a:r>
              <a:rPr lang="fr-CA" sz="675" dirty="0">
                <a:solidFill>
                  <a:schemeClr val="bg1"/>
                </a:solidFill>
              </a:rPr>
              <a:t>© 2016. For information, contact Deloitte Touche Tohmatsu Limited</a:t>
            </a:r>
          </a:p>
        </p:txBody>
      </p:sp>
    </p:spTree>
    <p:extLst>
      <p:ext uri="{BB962C8B-B14F-4D97-AF65-F5344CB8AC3E}">
        <p14:creationId xmlns:p14="http://schemas.microsoft.com/office/powerpoint/2010/main" val="19247059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14"/>
          <p:cNvSpPr txBox="1">
            <a:spLocks/>
          </p:cNvSpPr>
          <p:nvPr/>
        </p:nvSpPr>
        <p:spPr bwMode="gray">
          <a:xfrm>
            <a:off x="396000" y="295683"/>
            <a:ext cx="8352000" cy="469492"/>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defRPr/>
            </a:pPr>
            <a:r>
              <a:rPr lang="en-US" dirty="0"/>
              <a:t>Timing, Rollout, &amp; Benefits by phase</a:t>
            </a:r>
            <a:endParaRPr lang="en-US" dirty="0">
              <a:solidFill>
                <a:sysClr val="windowText" lastClr="000000"/>
              </a:solidFill>
              <a:ea typeface="Verdana" panose="020B0604030504040204" pitchFamily="34" charset="0"/>
              <a:cs typeface="Verdana" panose="020B0604030504040204" pitchFamily="34" charset="0"/>
            </a:endParaRPr>
          </a:p>
        </p:txBody>
      </p:sp>
      <p:grpSp>
        <p:nvGrpSpPr>
          <p:cNvPr id="199" name="Group 198"/>
          <p:cNvGrpSpPr/>
          <p:nvPr/>
        </p:nvGrpSpPr>
        <p:grpSpPr>
          <a:xfrm>
            <a:off x="6205650" y="5647580"/>
            <a:ext cx="2579257" cy="950938"/>
            <a:chOff x="316288" y="2835779"/>
            <a:chExt cx="5783689" cy="2132371"/>
          </a:xfrm>
        </p:grpSpPr>
        <p:grpSp>
          <p:nvGrpSpPr>
            <p:cNvPr id="200" name="Group 199"/>
            <p:cNvGrpSpPr/>
            <p:nvPr/>
          </p:nvGrpSpPr>
          <p:grpSpPr>
            <a:xfrm>
              <a:off x="2627573" y="4096397"/>
              <a:ext cx="3472404" cy="577822"/>
              <a:chOff x="2627573" y="4096397"/>
              <a:chExt cx="3472404" cy="577822"/>
            </a:xfrm>
          </p:grpSpPr>
          <p:sp>
            <p:nvSpPr>
              <p:cNvPr id="215" name="Freeform 802"/>
              <p:cNvSpPr>
                <a:spLocks/>
              </p:cNvSpPr>
              <p:nvPr/>
            </p:nvSpPr>
            <p:spPr bwMode="auto">
              <a:xfrm>
                <a:off x="2636701" y="4109177"/>
                <a:ext cx="182566" cy="182566"/>
              </a:xfrm>
              <a:custGeom>
                <a:avLst/>
                <a:gdLst>
                  <a:gd name="T0" fmla="*/ 59 w 132"/>
                  <a:gd name="T1" fmla="*/ 132 h 132"/>
                  <a:gd name="T2" fmla="*/ 14 w 132"/>
                  <a:gd name="T3" fmla="*/ 15 h 132"/>
                  <a:gd name="T4" fmla="*/ 13 w 132"/>
                  <a:gd name="T5" fmla="*/ 15 h 132"/>
                  <a:gd name="T6" fmla="*/ 14 w 132"/>
                  <a:gd name="T7" fmla="*/ 48 h 132"/>
                  <a:gd name="T8" fmla="*/ 14 w 132"/>
                  <a:gd name="T9" fmla="*/ 132 h 132"/>
                  <a:gd name="T10" fmla="*/ 0 w 132"/>
                  <a:gd name="T11" fmla="*/ 132 h 132"/>
                  <a:gd name="T12" fmla="*/ 0 w 132"/>
                  <a:gd name="T13" fmla="*/ 0 h 132"/>
                  <a:gd name="T14" fmla="*/ 23 w 132"/>
                  <a:gd name="T15" fmla="*/ 0 h 132"/>
                  <a:gd name="T16" fmla="*/ 66 w 132"/>
                  <a:gd name="T17" fmla="*/ 109 h 132"/>
                  <a:gd name="T18" fmla="*/ 66 w 132"/>
                  <a:gd name="T19" fmla="*/ 109 h 132"/>
                  <a:gd name="T20" fmla="*/ 109 w 132"/>
                  <a:gd name="T21" fmla="*/ 0 h 132"/>
                  <a:gd name="T22" fmla="*/ 132 w 132"/>
                  <a:gd name="T23" fmla="*/ 0 h 132"/>
                  <a:gd name="T24" fmla="*/ 132 w 132"/>
                  <a:gd name="T25" fmla="*/ 132 h 132"/>
                  <a:gd name="T26" fmla="*/ 116 w 132"/>
                  <a:gd name="T27" fmla="*/ 132 h 132"/>
                  <a:gd name="T28" fmla="*/ 116 w 132"/>
                  <a:gd name="T29" fmla="*/ 47 h 132"/>
                  <a:gd name="T30" fmla="*/ 118 w 132"/>
                  <a:gd name="T31" fmla="*/ 15 h 132"/>
                  <a:gd name="T32" fmla="*/ 117 w 132"/>
                  <a:gd name="T33" fmla="*/ 15 h 132"/>
                  <a:gd name="T34" fmla="*/ 71 w 132"/>
                  <a:gd name="T35" fmla="*/ 132 h 132"/>
                  <a:gd name="T36" fmla="*/ 59 w 132"/>
                  <a:gd name="T3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32">
                    <a:moveTo>
                      <a:pt x="59" y="132"/>
                    </a:moveTo>
                    <a:cubicBezTo>
                      <a:pt x="14" y="15"/>
                      <a:pt x="14" y="15"/>
                      <a:pt x="14" y="15"/>
                    </a:cubicBezTo>
                    <a:cubicBezTo>
                      <a:pt x="13" y="15"/>
                      <a:pt x="13" y="15"/>
                      <a:pt x="13" y="15"/>
                    </a:cubicBezTo>
                    <a:cubicBezTo>
                      <a:pt x="14" y="24"/>
                      <a:pt x="14" y="35"/>
                      <a:pt x="14" y="48"/>
                    </a:cubicBezTo>
                    <a:cubicBezTo>
                      <a:pt x="14" y="132"/>
                      <a:pt x="14" y="132"/>
                      <a:pt x="14" y="132"/>
                    </a:cubicBezTo>
                    <a:cubicBezTo>
                      <a:pt x="0" y="132"/>
                      <a:pt x="0" y="132"/>
                      <a:pt x="0" y="132"/>
                    </a:cubicBezTo>
                    <a:cubicBezTo>
                      <a:pt x="0" y="0"/>
                      <a:pt x="0" y="0"/>
                      <a:pt x="0" y="0"/>
                    </a:cubicBezTo>
                    <a:cubicBezTo>
                      <a:pt x="23" y="0"/>
                      <a:pt x="23" y="0"/>
                      <a:pt x="23" y="0"/>
                    </a:cubicBezTo>
                    <a:cubicBezTo>
                      <a:pt x="66" y="109"/>
                      <a:pt x="66" y="109"/>
                      <a:pt x="66" y="109"/>
                    </a:cubicBezTo>
                    <a:cubicBezTo>
                      <a:pt x="66" y="109"/>
                      <a:pt x="66" y="109"/>
                      <a:pt x="66" y="109"/>
                    </a:cubicBezTo>
                    <a:cubicBezTo>
                      <a:pt x="109" y="0"/>
                      <a:pt x="109" y="0"/>
                      <a:pt x="109" y="0"/>
                    </a:cubicBezTo>
                    <a:cubicBezTo>
                      <a:pt x="132" y="0"/>
                      <a:pt x="132" y="0"/>
                      <a:pt x="132" y="0"/>
                    </a:cubicBezTo>
                    <a:cubicBezTo>
                      <a:pt x="132" y="132"/>
                      <a:pt x="132" y="132"/>
                      <a:pt x="132" y="132"/>
                    </a:cubicBezTo>
                    <a:cubicBezTo>
                      <a:pt x="116" y="132"/>
                      <a:pt x="116" y="132"/>
                      <a:pt x="116" y="132"/>
                    </a:cubicBezTo>
                    <a:cubicBezTo>
                      <a:pt x="116" y="47"/>
                      <a:pt x="116" y="47"/>
                      <a:pt x="116" y="47"/>
                    </a:cubicBezTo>
                    <a:cubicBezTo>
                      <a:pt x="116" y="37"/>
                      <a:pt x="117" y="26"/>
                      <a:pt x="118" y="15"/>
                    </a:cubicBezTo>
                    <a:cubicBezTo>
                      <a:pt x="117" y="15"/>
                      <a:pt x="117" y="15"/>
                      <a:pt x="117" y="15"/>
                    </a:cubicBezTo>
                    <a:cubicBezTo>
                      <a:pt x="71" y="132"/>
                      <a:pt x="71" y="132"/>
                      <a:pt x="71" y="132"/>
                    </a:cubicBezTo>
                    <a:lnTo>
                      <a:pt x="59"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803"/>
              <p:cNvSpPr>
                <a:spLocks noEditPoints="1"/>
              </p:cNvSpPr>
              <p:nvPr/>
            </p:nvSpPr>
            <p:spPr bwMode="auto">
              <a:xfrm>
                <a:off x="2850303" y="4152080"/>
                <a:ext cx="110452" cy="142401"/>
              </a:xfrm>
              <a:custGeom>
                <a:avLst/>
                <a:gdLst>
                  <a:gd name="T0" fmla="*/ 68 w 80"/>
                  <a:gd name="T1" fmla="*/ 101 h 103"/>
                  <a:gd name="T2" fmla="*/ 65 w 80"/>
                  <a:gd name="T3" fmla="*/ 87 h 103"/>
                  <a:gd name="T4" fmla="*/ 65 w 80"/>
                  <a:gd name="T5" fmla="*/ 87 h 103"/>
                  <a:gd name="T6" fmla="*/ 50 w 80"/>
                  <a:gd name="T7" fmla="*/ 100 h 103"/>
                  <a:gd name="T8" fmla="*/ 31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8 w 80"/>
                  <a:gd name="T39" fmla="*/ 101 h 103"/>
                  <a:gd name="T40" fmla="*/ 34 w 80"/>
                  <a:gd name="T41" fmla="*/ 91 h 103"/>
                  <a:gd name="T42" fmla="*/ 56 w 80"/>
                  <a:gd name="T43" fmla="*/ 83 h 103"/>
                  <a:gd name="T44" fmla="*/ 64 w 80"/>
                  <a:gd name="T45" fmla="*/ 62 h 103"/>
                  <a:gd name="T46" fmla="*/ 64 w 80"/>
                  <a:gd name="T47" fmla="*/ 53 h 103"/>
                  <a:gd name="T48" fmla="*/ 49 w 80"/>
                  <a:gd name="T49" fmla="*/ 53 h 103"/>
                  <a:gd name="T50" fmla="*/ 23 w 80"/>
                  <a:gd name="T51" fmla="*/ 59 h 103"/>
                  <a:gd name="T52" fmla="*/ 16 w 80"/>
                  <a:gd name="T53" fmla="*/ 74 h 103"/>
                  <a:gd name="T54" fmla="*/ 20 w 80"/>
                  <a:gd name="T55" fmla="*/ 87 h 103"/>
                  <a:gd name="T56" fmla="*/ 34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8" y="101"/>
                    </a:moveTo>
                    <a:cubicBezTo>
                      <a:pt x="65" y="87"/>
                      <a:pt x="65" y="87"/>
                      <a:pt x="65" y="87"/>
                    </a:cubicBezTo>
                    <a:cubicBezTo>
                      <a:pt x="65" y="87"/>
                      <a:pt x="65" y="87"/>
                      <a:pt x="65" y="87"/>
                    </a:cubicBezTo>
                    <a:cubicBezTo>
                      <a:pt x="60" y="94"/>
                      <a:pt x="55" y="98"/>
                      <a:pt x="50" y="100"/>
                    </a:cubicBezTo>
                    <a:cubicBezTo>
                      <a:pt x="45" y="102"/>
                      <a:pt x="39" y="103"/>
                      <a:pt x="31" y="103"/>
                    </a:cubicBezTo>
                    <a:cubicBezTo>
                      <a:pt x="21"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6" y="15"/>
                      <a:pt x="51" y="13"/>
                      <a:pt x="44" y="13"/>
                    </a:cubicBezTo>
                    <a:cubicBezTo>
                      <a:pt x="35" y="13"/>
                      <a:pt x="26" y="15"/>
                      <a:pt x="16" y="20"/>
                    </a:cubicBezTo>
                    <a:cubicBezTo>
                      <a:pt x="11" y="9"/>
                      <a:pt x="11" y="9"/>
                      <a:pt x="11" y="9"/>
                    </a:cubicBezTo>
                    <a:cubicBezTo>
                      <a:pt x="16" y="6"/>
                      <a:pt x="21" y="4"/>
                      <a:pt x="27" y="3"/>
                    </a:cubicBezTo>
                    <a:cubicBezTo>
                      <a:pt x="33" y="1"/>
                      <a:pt x="39" y="0"/>
                      <a:pt x="45" y="0"/>
                    </a:cubicBezTo>
                    <a:cubicBezTo>
                      <a:pt x="56" y="0"/>
                      <a:pt x="65" y="3"/>
                      <a:pt x="71" y="8"/>
                    </a:cubicBezTo>
                    <a:cubicBezTo>
                      <a:pt x="77" y="13"/>
                      <a:pt x="80" y="22"/>
                      <a:pt x="80" y="34"/>
                    </a:cubicBezTo>
                    <a:cubicBezTo>
                      <a:pt x="80" y="101"/>
                      <a:pt x="80" y="101"/>
                      <a:pt x="80" y="101"/>
                    </a:cubicBezTo>
                    <a:lnTo>
                      <a:pt x="68" y="101"/>
                    </a:lnTo>
                    <a:close/>
                    <a:moveTo>
                      <a:pt x="34" y="91"/>
                    </a:moveTo>
                    <a:cubicBezTo>
                      <a:pt x="44" y="91"/>
                      <a:pt x="51" y="88"/>
                      <a:pt x="56" y="83"/>
                    </a:cubicBezTo>
                    <a:cubicBezTo>
                      <a:pt x="62" y="78"/>
                      <a:pt x="64" y="71"/>
                      <a:pt x="64" y="62"/>
                    </a:cubicBezTo>
                    <a:cubicBezTo>
                      <a:pt x="64" y="53"/>
                      <a:pt x="64" y="53"/>
                      <a:pt x="64" y="53"/>
                    </a:cubicBezTo>
                    <a:cubicBezTo>
                      <a:pt x="49" y="53"/>
                      <a:pt x="49" y="53"/>
                      <a:pt x="49" y="53"/>
                    </a:cubicBezTo>
                    <a:cubicBezTo>
                      <a:pt x="37" y="54"/>
                      <a:pt x="29" y="55"/>
                      <a:pt x="23" y="59"/>
                    </a:cubicBezTo>
                    <a:cubicBezTo>
                      <a:pt x="18" y="62"/>
                      <a:pt x="16" y="67"/>
                      <a:pt x="16" y="74"/>
                    </a:cubicBezTo>
                    <a:cubicBezTo>
                      <a:pt x="16" y="80"/>
                      <a:pt x="17" y="84"/>
                      <a:pt x="20" y="87"/>
                    </a:cubicBezTo>
                    <a:cubicBezTo>
                      <a:pt x="24" y="89"/>
                      <a:pt x="28"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804"/>
              <p:cNvSpPr>
                <a:spLocks/>
              </p:cNvSpPr>
              <p:nvPr/>
            </p:nvSpPr>
            <p:spPr bwMode="auto">
              <a:xfrm>
                <a:off x="2996356" y="4096397"/>
                <a:ext cx="111365" cy="195346"/>
              </a:xfrm>
              <a:custGeom>
                <a:avLst/>
                <a:gdLst>
                  <a:gd name="T0" fmla="*/ 15 w 80"/>
                  <a:gd name="T1" fmla="*/ 91 h 141"/>
                  <a:gd name="T2" fmla="*/ 27 w 80"/>
                  <a:gd name="T3" fmla="*/ 76 h 141"/>
                  <a:gd name="T4" fmla="*/ 59 w 80"/>
                  <a:gd name="T5" fmla="*/ 42 h 141"/>
                  <a:gd name="T6" fmla="*/ 77 w 80"/>
                  <a:gd name="T7" fmla="*/ 42 h 141"/>
                  <a:gd name="T8" fmla="*/ 36 w 80"/>
                  <a:gd name="T9" fmla="*/ 84 h 141"/>
                  <a:gd name="T10" fmla="*/ 80 w 80"/>
                  <a:gd name="T11" fmla="*/ 141 h 141"/>
                  <a:gd name="T12" fmla="*/ 61 w 80"/>
                  <a:gd name="T13" fmla="*/ 141 h 141"/>
                  <a:gd name="T14" fmla="*/ 26 w 80"/>
                  <a:gd name="T15" fmla="*/ 94 h 141"/>
                  <a:gd name="T16" fmla="*/ 15 w 80"/>
                  <a:gd name="T17" fmla="*/ 104 h 141"/>
                  <a:gd name="T18" fmla="*/ 15 w 80"/>
                  <a:gd name="T19" fmla="*/ 141 h 141"/>
                  <a:gd name="T20" fmla="*/ 0 w 80"/>
                  <a:gd name="T21" fmla="*/ 141 h 141"/>
                  <a:gd name="T22" fmla="*/ 0 w 80"/>
                  <a:gd name="T23" fmla="*/ 0 h 141"/>
                  <a:gd name="T24" fmla="*/ 15 w 80"/>
                  <a:gd name="T25" fmla="*/ 0 h 141"/>
                  <a:gd name="T26" fmla="*/ 15 w 80"/>
                  <a:gd name="T27" fmla="*/ 75 h 141"/>
                  <a:gd name="T28" fmla="*/ 14 w 80"/>
                  <a:gd name="T29" fmla="*/ 91 h 141"/>
                  <a:gd name="T30" fmla="*/ 15 w 80"/>
                  <a:gd name="T31"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1">
                    <a:moveTo>
                      <a:pt x="15" y="91"/>
                    </a:moveTo>
                    <a:cubicBezTo>
                      <a:pt x="17" y="87"/>
                      <a:pt x="21" y="82"/>
                      <a:pt x="27" y="76"/>
                    </a:cubicBezTo>
                    <a:cubicBezTo>
                      <a:pt x="59" y="42"/>
                      <a:pt x="59" y="42"/>
                      <a:pt x="59" y="42"/>
                    </a:cubicBezTo>
                    <a:cubicBezTo>
                      <a:pt x="77" y="42"/>
                      <a:pt x="77" y="42"/>
                      <a:pt x="77" y="42"/>
                    </a:cubicBezTo>
                    <a:cubicBezTo>
                      <a:pt x="36" y="84"/>
                      <a:pt x="36" y="84"/>
                      <a:pt x="36" y="84"/>
                    </a:cubicBezTo>
                    <a:cubicBezTo>
                      <a:pt x="80" y="141"/>
                      <a:pt x="80" y="141"/>
                      <a:pt x="80" y="141"/>
                    </a:cubicBezTo>
                    <a:cubicBezTo>
                      <a:pt x="61" y="141"/>
                      <a:pt x="61" y="141"/>
                      <a:pt x="61" y="141"/>
                    </a:cubicBezTo>
                    <a:cubicBezTo>
                      <a:pt x="26" y="94"/>
                      <a:pt x="26" y="94"/>
                      <a:pt x="26" y="94"/>
                    </a:cubicBezTo>
                    <a:cubicBezTo>
                      <a:pt x="15" y="104"/>
                      <a:pt x="15" y="104"/>
                      <a:pt x="15" y="104"/>
                    </a:cubicBezTo>
                    <a:cubicBezTo>
                      <a:pt x="15" y="141"/>
                      <a:pt x="15" y="141"/>
                      <a:pt x="15" y="141"/>
                    </a:cubicBezTo>
                    <a:cubicBezTo>
                      <a:pt x="0" y="141"/>
                      <a:pt x="0" y="141"/>
                      <a:pt x="0" y="141"/>
                    </a:cubicBezTo>
                    <a:cubicBezTo>
                      <a:pt x="0" y="0"/>
                      <a:pt x="0" y="0"/>
                      <a:pt x="0" y="0"/>
                    </a:cubicBezTo>
                    <a:cubicBezTo>
                      <a:pt x="15" y="0"/>
                      <a:pt x="15" y="0"/>
                      <a:pt x="15" y="0"/>
                    </a:cubicBezTo>
                    <a:cubicBezTo>
                      <a:pt x="15" y="75"/>
                      <a:pt x="15" y="75"/>
                      <a:pt x="15" y="75"/>
                    </a:cubicBezTo>
                    <a:cubicBezTo>
                      <a:pt x="15" y="78"/>
                      <a:pt x="15" y="84"/>
                      <a:pt x="14" y="91"/>
                    </a:cubicBezTo>
                    <a:lnTo>
                      <a:pt x="15"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805"/>
              <p:cNvSpPr>
                <a:spLocks noEditPoints="1"/>
              </p:cNvSpPr>
              <p:nvPr/>
            </p:nvSpPr>
            <p:spPr bwMode="auto">
              <a:xfrm>
                <a:off x="3124152" y="4103700"/>
                <a:ext cx="23734" cy="188043"/>
              </a:xfrm>
              <a:custGeom>
                <a:avLst/>
                <a:gdLst>
                  <a:gd name="T0" fmla="*/ 0 w 17"/>
                  <a:gd name="T1" fmla="*/ 10 h 136"/>
                  <a:gd name="T2" fmla="*/ 2 w 17"/>
                  <a:gd name="T3" fmla="*/ 2 h 136"/>
                  <a:gd name="T4" fmla="*/ 8 w 17"/>
                  <a:gd name="T5" fmla="*/ 0 h 136"/>
                  <a:gd name="T6" fmla="*/ 15 w 17"/>
                  <a:gd name="T7" fmla="*/ 2 h 136"/>
                  <a:gd name="T8" fmla="*/ 17 w 17"/>
                  <a:gd name="T9" fmla="*/ 10 h 136"/>
                  <a:gd name="T10" fmla="*/ 15 w 17"/>
                  <a:gd name="T11" fmla="*/ 18 h 136"/>
                  <a:gd name="T12" fmla="*/ 8 w 17"/>
                  <a:gd name="T13" fmla="*/ 20 h 136"/>
                  <a:gd name="T14" fmla="*/ 2 w 17"/>
                  <a:gd name="T15" fmla="*/ 18 h 136"/>
                  <a:gd name="T16" fmla="*/ 0 w 17"/>
                  <a:gd name="T17" fmla="*/ 10 h 136"/>
                  <a:gd name="T18" fmla="*/ 16 w 17"/>
                  <a:gd name="T19" fmla="*/ 136 h 136"/>
                  <a:gd name="T20" fmla="*/ 1 w 17"/>
                  <a:gd name="T21" fmla="*/ 136 h 136"/>
                  <a:gd name="T22" fmla="*/ 1 w 17"/>
                  <a:gd name="T23" fmla="*/ 37 h 136"/>
                  <a:gd name="T24" fmla="*/ 16 w 17"/>
                  <a:gd name="T25" fmla="*/ 37 h 136"/>
                  <a:gd name="T26" fmla="*/ 16 w 17"/>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36">
                    <a:moveTo>
                      <a:pt x="0" y="10"/>
                    </a:moveTo>
                    <a:cubicBezTo>
                      <a:pt x="0" y="7"/>
                      <a:pt x="0" y="4"/>
                      <a:pt x="2" y="2"/>
                    </a:cubicBezTo>
                    <a:cubicBezTo>
                      <a:pt x="4" y="1"/>
                      <a:pt x="6" y="0"/>
                      <a:pt x="8" y="0"/>
                    </a:cubicBezTo>
                    <a:cubicBezTo>
                      <a:pt x="11" y="0"/>
                      <a:pt x="13" y="1"/>
                      <a:pt x="15" y="2"/>
                    </a:cubicBezTo>
                    <a:cubicBezTo>
                      <a:pt x="16" y="4"/>
                      <a:pt x="17" y="7"/>
                      <a:pt x="17" y="10"/>
                    </a:cubicBezTo>
                    <a:cubicBezTo>
                      <a:pt x="17" y="13"/>
                      <a:pt x="16" y="16"/>
                      <a:pt x="15" y="18"/>
                    </a:cubicBezTo>
                    <a:cubicBezTo>
                      <a:pt x="13" y="19"/>
                      <a:pt x="11" y="20"/>
                      <a:pt x="8" y="20"/>
                    </a:cubicBezTo>
                    <a:cubicBezTo>
                      <a:pt x="6" y="20"/>
                      <a:pt x="4" y="19"/>
                      <a:pt x="2" y="18"/>
                    </a:cubicBezTo>
                    <a:cubicBezTo>
                      <a:pt x="0" y="16"/>
                      <a:pt x="0" y="13"/>
                      <a:pt x="0" y="10"/>
                    </a:cubicBezTo>
                    <a:close/>
                    <a:moveTo>
                      <a:pt x="16" y="136"/>
                    </a:moveTo>
                    <a:cubicBezTo>
                      <a:pt x="1" y="136"/>
                      <a:pt x="1" y="136"/>
                      <a:pt x="1" y="136"/>
                    </a:cubicBezTo>
                    <a:cubicBezTo>
                      <a:pt x="1" y="37"/>
                      <a:pt x="1" y="37"/>
                      <a:pt x="1" y="37"/>
                    </a:cubicBezTo>
                    <a:cubicBezTo>
                      <a:pt x="16" y="37"/>
                      <a:pt x="16" y="37"/>
                      <a:pt x="16" y="37"/>
                    </a:cubicBezTo>
                    <a:lnTo>
                      <a:pt x="16"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806"/>
              <p:cNvSpPr>
                <a:spLocks/>
              </p:cNvSpPr>
              <p:nvPr/>
            </p:nvSpPr>
            <p:spPr bwMode="auto">
              <a:xfrm>
                <a:off x="3183486" y="4152080"/>
                <a:ext cx="115017" cy="139663"/>
              </a:xfrm>
              <a:custGeom>
                <a:avLst/>
                <a:gdLst>
                  <a:gd name="T0" fmla="*/ 68 w 83"/>
                  <a:gd name="T1" fmla="*/ 101 h 101"/>
                  <a:gd name="T2" fmla="*/ 68 w 83"/>
                  <a:gd name="T3" fmla="*/ 37 h 101"/>
                  <a:gd name="T4" fmla="*/ 63 w 83"/>
                  <a:gd name="T5" fmla="*/ 19 h 101"/>
                  <a:gd name="T6" fmla="*/ 45 w 83"/>
                  <a:gd name="T7" fmla="*/ 13 h 101"/>
                  <a:gd name="T8" fmla="*/ 23 w 83"/>
                  <a:gd name="T9" fmla="*/ 21 h 101"/>
                  <a:gd name="T10" fmla="*/ 15 w 83"/>
                  <a:gd name="T11" fmla="*/ 49 h 101"/>
                  <a:gd name="T12" fmla="*/ 15 w 83"/>
                  <a:gd name="T13" fmla="*/ 101 h 101"/>
                  <a:gd name="T14" fmla="*/ 0 w 83"/>
                  <a:gd name="T15" fmla="*/ 101 h 101"/>
                  <a:gd name="T16" fmla="*/ 0 w 83"/>
                  <a:gd name="T17" fmla="*/ 2 h 101"/>
                  <a:gd name="T18" fmla="*/ 12 w 83"/>
                  <a:gd name="T19" fmla="*/ 2 h 101"/>
                  <a:gd name="T20" fmla="*/ 15 w 83"/>
                  <a:gd name="T21" fmla="*/ 16 h 101"/>
                  <a:gd name="T22" fmla="*/ 16 w 83"/>
                  <a:gd name="T23" fmla="*/ 16 h 101"/>
                  <a:gd name="T24" fmla="*/ 29 w 83"/>
                  <a:gd name="T25" fmla="*/ 4 h 101"/>
                  <a:gd name="T26" fmla="*/ 47 w 83"/>
                  <a:gd name="T27" fmla="*/ 0 h 101"/>
                  <a:gd name="T28" fmla="*/ 74 w 83"/>
                  <a:gd name="T29" fmla="*/ 9 h 101"/>
                  <a:gd name="T30" fmla="*/ 83 w 83"/>
                  <a:gd name="T31" fmla="*/ 37 h 101"/>
                  <a:gd name="T32" fmla="*/ 83 w 83"/>
                  <a:gd name="T33" fmla="*/ 101 h 101"/>
                  <a:gd name="T34" fmla="*/ 68 w 83"/>
                  <a:gd name="T3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1">
                    <a:moveTo>
                      <a:pt x="68" y="101"/>
                    </a:moveTo>
                    <a:cubicBezTo>
                      <a:pt x="68" y="37"/>
                      <a:pt x="68" y="37"/>
                      <a:pt x="68" y="37"/>
                    </a:cubicBezTo>
                    <a:cubicBezTo>
                      <a:pt x="68" y="29"/>
                      <a:pt x="66" y="23"/>
                      <a:pt x="63" y="19"/>
                    </a:cubicBezTo>
                    <a:cubicBezTo>
                      <a:pt x="59" y="15"/>
                      <a:pt x="53" y="13"/>
                      <a:pt x="45" y="13"/>
                    </a:cubicBezTo>
                    <a:cubicBezTo>
                      <a:pt x="35" y="13"/>
                      <a:pt x="27" y="16"/>
                      <a:pt x="23" y="21"/>
                    </a:cubicBezTo>
                    <a:cubicBezTo>
                      <a:pt x="18" y="27"/>
                      <a:pt x="15" y="36"/>
                      <a:pt x="15" y="49"/>
                    </a:cubicBezTo>
                    <a:cubicBezTo>
                      <a:pt x="15" y="101"/>
                      <a:pt x="15" y="101"/>
                      <a:pt x="15" y="101"/>
                    </a:cubicBezTo>
                    <a:cubicBezTo>
                      <a:pt x="0" y="101"/>
                      <a:pt x="0" y="101"/>
                      <a:pt x="0" y="101"/>
                    </a:cubicBezTo>
                    <a:cubicBezTo>
                      <a:pt x="0" y="2"/>
                      <a:pt x="0" y="2"/>
                      <a:pt x="0" y="2"/>
                    </a:cubicBezTo>
                    <a:cubicBezTo>
                      <a:pt x="12" y="2"/>
                      <a:pt x="12" y="2"/>
                      <a:pt x="12" y="2"/>
                    </a:cubicBezTo>
                    <a:cubicBezTo>
                      <a:pt x="15" y="16"/>
                      <a:pt x="15" y="16"/>
                      <a:pt x="15" y="16"/>
                    </a:cubicBezTo>
                    <a:cubicBezTo>
                      <a:pt x="16" y="16"/>
                      <a:pt x="16" y="16"/>
                      <a:pt x="16" y="16"/>
                    </a:cubicBezTo>
                    <a:cubicBezTo>
                      <a:pt x="19" y="11"/>
                      <a:pt x="23" y="7"/>
                      <a:pt x="29" y="4"/>
                    </a:cubicBezTo>
                    <a:cubicBezTo>
                      <a:pt x="34" y="1"/>
                      <a:pt x="40" y="0"/>
                      <a:pt x="47" y="0"/>
                    </a:cubicBezTo>
                    <a:cubicBezTo>
                      <a:pt x="59" y="0"/>
                      <a:pt x="68" y="3"/>
                      <a:pt x="74" y="9"/>
                    </a:cubicBezTo>
                    <a:cubicBezTo>
                      <a:pt x="80" y="15"/>
                      <a:pt x="83" y="24"/>
                      <a:pt x="83" y="37"/>
                    </a:cubicBezTo>
                    <a:cubicBezTo>
                      <a:pt x="83" y="101"/>
                      <a:pt x="83" y="101"/>
                      <a:pt x="83" y="101"/>
                    </a:cubicBezTo>
                    <a:lnTo>
                      <a:pt x="6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807"/>
              <p:cNvSpPr>
                <a:spLocks noEditPoints="1"/>
              </p:cNvSpPr>
              <p:nvPr/>
            </p:nvSpPr>
            <p:spPr bwMode="auto">
              <a:xfrm>
                <a:off x="3317672" y="4152080"/>
                <a:ext cx="130535" cy="201735"/>
              </a:xfrm>
              <a:custGeom>
                <a:avLst/>
                <a:gdLst>
                  <a:gd name="T0" fmla="*/ 94 w 94"/>
                  <a:gd name="T1" fmla="*/ 2 h 146"/>
                  <a:gd name="T2" fmla="*/ 94 w 94"/>
                  <a:gd name="T3" fmla="*/ 11 h 146"/>
                  <a:gd name="T4" fmla="*/ 76 w 94"/>
                  <a:gd name="T5" fmla="*/ 14 h 146"/>
                  <a:gd name="T6" fmla="*/ 80 w 94"/>
                  <a:gd name="T7" fmla="*/ 22 h 146"/>
                  <a:gd name="T8" fmla="*/ 82 w 94"/>
                  <a:gd name="T9" fmla="*/ 34 h 146"/>
                  <a:gd name="T10" fmla="*/ 72 w 94"/>
                  <a:gd name="T11" fmla="*/ 57 h 146"/>
                  <a:gd name="T12" fmla="*/ 45 w 94"/>
                  <a:gd name="T13" fmla="*/ 66 h 146"/>
                  <a:gd name="T14" fmla="*/ 36 w 94"/>
                  <a:gd name="T15" fmla="*/ 65 h 146"/>
                  <a:gd name="T16" fmla="*/ 27 w 94"/>
                  <a:gd name="T17" fmla="*/ 78 h 146"/>
                  <a:gd name="T18" fmla="*/ 30 w 94"/>
                  <a:gd name="T19" fmla="*/ 84 h 146"/>
                  <a:gd name="T20" fmla="*/ 42 w 94"/>
                  <a:gd name="T21" fmla="*/ 86 h 146"/>
                  <a:gd name="T22" fmla="*/ 59 w 94"/>
                  <a:gd name="T23" fmla="*/ 86 h 146"/>
                  <a:gd name="T24" fmla="*/ 84 w 94"/>
                  <a:gd name="T25" fmla="*/ 92 h 146"/>
                  <a:gd name="T26" fmla="*/ 93 w 94"/>
                  <a:gd name="T27" fmla="*/ 112 h 146"/>
                  <a:gd name="T28" fmla="*/ 80 w 94"/>
                  <a:gd name="T29" fmla="*/ 137 h 146"/>
                  <a:gd name="T30" fmla="*/ 41 w 94"/>
                  <a:gd name="T31" fmla="*/ 146 h 146"/>
                  <a:gd name="T32" fmla="*/ 11 w 94"/>
                  <a:gd name="T33" fmla="*/ 139 h 146"/>
                  <a:gd name="T34" fmla="*/ 0 w 94"/>
                  <a:gd name="T35" fmla="*/ 118 h 146"/>
                  <a:gd name="T36" fmla="*/ 6 w 94"/>
                  <a:gd name="T37" fmla="*/ 103 h 146"/>
                  <a:gd name="T38" fmla="*/ 22 w 94"/>
                  <a:gd name="T39" fmla="*/ 94 h 146"/>
                  <a:gd name="T40" fmla="*/ 16 w 94"/>
                  <a:gd name="T41" fmla="*/ 88 h 146"/>
                  <a:gd name="T42" fmla="*/ 13 w 94"/>
                  <a:gd name="T43" fmla="*/ 80 h 146"/>
                  <a:gd name="T44" fmla="*/ 16 w 94"/>
                  <a:gd name="T45" fmla="*/ 70 h 146"/>
                  <a:gd name="T46" fmla="*/ 25 w 94"/>
                  <a:gd name="T47" fmla="*/ 62 h 146"/>
                  <a:gd name="T48" fmla="*/ 13 w 94"/>
                  <a:gd name="T49" fmla="*/ 52 h 146"/>
                  <a:gd name="T50" fmla="*/ 8 w 94"/>
                  <a:gd name="T51" fmla="*/ 34 h 146"/>
                  <a:gd name="T52" fmla="*/ 18 w 94"/>
                  <a:gd name="T53" fmla="*/ 9 h 146"/>
                  <a:gd name="T54" fmla="*/ 46 w 94"/>
                  <a:gd name="T55" fmla="*/ 0 h 146"/>
                  <a:gd name="T56" fmla="*/ 60 w 94"/>
                  <a:gd name="T57" fmla="*/ 2 h 146"/>
                  <a:gd name="T58" fmla="*/ 94 w 94"/>
                  <a:gd name="T59" fmla="*/ 2 h 146"/>
                  <a:gd name="T60" fmla="*/ 15 w 94"/>
                  <a:gd name="T61" fmla="*/ 118 h 146"/>
                  <a:gd name="T62" fmla="*/ 22 w 94"/>
                  <a:gd name="T63" fmla="*/ 130 h 146"/>
                  <a:gd name="T64" fmla="*/ 41 w 94"/>
                  <a:gd name="T65" fmla="*/ 135 h 146"/>
                  <a:gd name="T66" fmla="*/ 69 w 94"/>
                  <a:gd name="T67" fmla="*/ 129 h 146"/>
                  <a:gd name="T68" fmla="*/ 78 w 94"/>
                  <a:gd name="T69" fmla="*/ 114 h 146"/>
                  <a:gd name="T70" fmla="*/ 73 w 94"/>
                  <a:gd name="T71" fmla="*/ 102 h 146"/>
                  <a:gd name="T72" fmla="*/ 55 w 94"/>
                  <a:gd name="T73" fmla="*/ 99 h 146"/>
                  <a:gd name="T74" fmla="*/ 36 w 94"/>
                  <a:gd name="T75" fmla="*/ 99 h 146"/>
                  <a:gd name="T76" fmla="*/ 20 w 94"/>
                  <a:gd name="T77" fmla="*/ 104 h 146"/>
                  <a:gd name="T78" fmla="*/ 15 w 94"/>
                  <a:gd name="T79" fmla="*/ 118 h 146"/>
                  <a:gd name="T80" fmla="*/ 23 w 94"/>
                  <a:gd name="T81" fmla="*/ 34 h 146"/>
                  <a:gd name="T82" fmla="*/ 29 w 94"/>
                  <a:gd name="T83" fmla="*/ 50 h 146"/>
                  <a:gd name="T84" fmla="*/ 45 w 94"/>
                  <a:gd name="T85" fmla="*/ 55 h 146"/>
                  <a:gd name="T86" fmla="*/ 67 w 94"/>
                  <a:gd name="T87" fmla="*/ 34 h 146"/>
                  <a:gd name="T88" fmla="*/ 45 w 94"/>
                  <a:gd name="T89" fmla="*/ 11 h 146"/>
                  <a:gd name="T90" fmla="*/ 29 w 94"/>
                  <a:gd name="T91" fmla="*/ 17 h 146"/>
                  <a:gd name="T92" fmla="*/ 23 w 94"/>
                  <a:gd name="T93" fmla="*/ 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146">
                    <a:moveTo>
                      <a:pt x="94" y="2"/>
                    </a:moveTo>
                    <a:cubicBezTo>
                      <a:pt x="94" y="11"/>
                      <a:pt x="94" y="11"/>
                      <a:pt x="94" y="11"/>
                    </a:cubicBezTo>
                    <a:cubicBezTo>
                      <a:pt x="76" y="14"/>
                      <a:pt x="76" y="14"/>
                      <a:pt x="76" y="14"/>
                    </a:cubicBezTo>
                    <a:cubicBezTo>
                      <a:pt x="77" y="16"/>
                      <a:pt x="79" y="19"/>
                      <a:pt x="80" y="22"/>
                    </a:cubicBezTo>
                    <a:cubicBezTo>
                      <a:pt x="82" y="25"/>
                      <a:pt x="82" y="29"/>
                      <a:pt x="82" y="34"/>
                    </a:cubicBezTo>
                    <a:cubicBezTo>
                      <a:pt x="82" y="43"/>
                      <a:pt x="79" y="51"/>
                      <a:pt x="72" y="57"/>
                    </a:cubicBezTo>
                    <a:cubicBezTo>
                      <a:pt x="66" y="63"/>
                      <a:pt x="56" y="66"/>
                      <a:pt x="45" y="66"/>
                    </a:cubicBezTo>
                    <a:cubicBezTo>
                      <a:pt x="42" y="66"/>
                      <a:pt x="39" y="65"/>
                      <a:pt x="36" y="65"/>
                    </a:cubicBezTo>
                    <a:cubicBezTo>
                      <a:pt x="30" y="68"/>
                      <a:pt x="27" y="73"/>
                      <a:pt x="27" y="78"/>
                    </a:cubicBezTo>
                    <a:cubicBezTo>
                      <a:pt x="27" y="80"/>
                      <a:pt x="28" y="82"/>
                      <a:pt x="30" y="84"/>
                    </a:cubicBezTo>
                    <a:cubicBezTo>
                      <a:pt x="32" y="85"/>
                      <a:pt x="36" y="86"/>
                      <a:pt x="42" y="86"/>
                    </a:cubicBezTo>
                    <a:cubicBezTo>
                      <a:pt x="59" y="86"/>
                      <a:pt x="59" y="86"/>
                      <a:pt x="59" y="86"/>
                    </a:cubicBezTo>
                    <a:cubicBezTo>
                      <a:pt x="70" y="86"/>
                      <a:pt x="78" y="88"/>
                      <a:pt x="84" y="92"/>
                    </a:cubicBezTo>
                    <a:cubicBezTo>
                      <a:pt x="90" y="97"/>
                      <a:pt x="93" y="104"/>
                      <a:pt x="93" y="112"/>
                    </a:cubicBezTo>
                    <a:cubicBezTo>
                      <a:pt x="93" y="123"/>
                      <a:pt x="88" y="132"/>
                      <a:pt x="80" y="137"/>
                    </a:cubicBezTo>
                    <a:cubicBezTo>
                      <a:pt x="71" y="143"/>
                      <a:pt x="58" y="146"/>
                      <a:pt x="41" y="146"/>
                    </a:cubicBezTo>
                    <a:cubicBezTo>
                      <a:pt x="28" y="146"/>
                      <a:pt x="18" y="144"/>
                      <a:pt x="11" y="139"/>
                    </a:cubicBezTo>
                    <a:cubicBezTo>
                      <a:pt x="4" y="134"/>
                      <a:pt x="0" y="127"/>
                      <a:pt x="0" y="118"/>
                    </a:cubicBezTo>
                    <a:cubicBezTo>
                      <a:pt x="0" y="112"/>
                      <a:pt x="2" y="107"/>
                      <a:pt x="6" y="103"/>
                    </a:cubicBezTo>
                    <a:cubicBezTo>
                      <a:pt x="10" y="98"/>
                      <a:pt x="15" y="95"/>
                      <a:pt x="22" y="94"/>
                    </a:cubicBezTo>
                    <a:cubicBezTo>
                      <a:pt x="20" y="93"/>
                      <a:pt x="18" y="91"/>
                      <a:pt x="16" y="88"/>
                    </a:cubicBezTo>
                    <a:cubicBezTo>
                      <a:pt x="14" y="86"/>
                      <a:pt x="13" y="83"/>
                      <a:pt x="13" y="80"/>
                    </a:cubicBezTo>
                    <a:cubicBezTo>
                      <a:pt x="13" y="76"/>
                      <a:pt x="14" y="73"/>
                      <a:pt x="16" y="70"/>
                    </a:cubicBezTo>
                    <a:cubicBezTo>
                      <a:pt x="18" y="68"/>
                      <a:pt x="21" y="65"/>
                      <a:pt x="25" y="62"/>
                    </a:cubicBezTo>
                    <a:cubicBezTo>
                      <a:pt x="20" y="60"/>
                      <a:pt x="16" y="57"/>
                      <a:pt x="13" y="52"/>
                    </a:cubicBezTo>
                    <a:cubicBezTo>
                      <a:pt x="10" y="47"/>
                      <a:pt x="8" y="41"/>
                      <a:pt x="8" y="34"/>
                    </a:cubicBezTo>
                    <a:cubicBezTo>
                      <a:pt x="8" y="23"/>
                      <a:pt x="11" y="15"/>
                      <a:pt x="18" y="9"/>
                    </a:cubicBezTo>
                    <a:cubicBezTo>
                      <a:pt x="24" y="3"/>
                      <a:pt x="34" y="0"/>
                      <a:pt x="46" y="0"/>
                    </a:cubicBezTo>
                    <a:cubicBezTo>
                      <a:pt x="51" y="0"/>
                      <a:pt x="56" y="1"/>
                      <a:pt x="60" y="2"/>
                    </a:cubicBezTo>
                    <a:lnTo>
                      <a:pt x="94" y="2"/>
                    </a:lnTo>
                    <a:close/>
                    <a:moveTo>
                      <a:pt x="15" y="118"/>
                    </a:moveTo>
                    <a:cubicBezTo>
                      <a:pt x="15" y="124"/>
                      <a:pt x="17" y="128"/>
                      <a:pt x="22" y="130"/>
                    </a:cubicBezTo>
                    <a:cubicBezTo>
                      <a:pt x="26" y="133"/>
                      <a:pt x="33" y="135"/>
                      <a:pt x="41" y="135"/>
                    </a:cubicBezTo>
                    <a:cubicBezTo>
                      <a:pt x="54" y="135"/>
                      <a:pt x="63" y="133"/>
                      <a:pt x="69" y="129"/>
                    </a:cubicBezTo>
                    <a:cubicBezTo>
                      <a:pt x="75" y="125"/>
                      <a:pt x="78" y="120"/>
                      <a:pt x="78" y="114"/>
                    </a:cubicBezTo>
                    <a:cubicBezTo>
                      <a:pt x="78" y="108"/>
                      <a:pt x="77" y="104"/>
                      <a:pt x="73" y="102"/>
                    </a:cubicBezTo>
                    <a:cubicBezTo>
                      <a:pt x="70" y="100"/>
                      <a:pt x="64" y="99"/>
                      <a:pt x="55" y="99"/>
                    </a:cubicBezTo>
                    <a:cubicBezTo>
                      <a:pt x="36" y="99"/>
                      <a:pt x="36" y="99"/>
                      <a:pt x="36" y="99"/>
                    </a:cubicBezTo>
                    <a:cubicBezTo>
                      <a:pt x="30" y="99"/>
                      <a:pt x="24" y="101"/>
                      <a:pt x="20" y="104"/>
                    </a:cubicBezTo>
                    <a:cubicBezTo>
                      <a:pt x="17" y="107"/>
                      <a:pt x="15" y="112"/>
                      <a:pt x="15" y="118"/>
                    </a:cubicBezTo>
                    <a:close/>
                    <a:moveTo>
                      <a:pt x="23" y="34"/>
                    </a:moveTo>
                    <a:cubicBezTo>
                      <a:pt x="23" y="41"/>
                      <a:pt x="25" y="46"/>
                      <a:pt x="29" y="50"/>
                    </a:cubicBezTo>
                    <a:cubicBezTo>
                      <a:pt x="33" y="53"/>
                      <a:pt x="38" y="55"/>
                      <a:pt x="45" y="55"/>
                    </a:cubicBezTo>
                    <a:cubicBezTo>
                      <a:pt x="60" y="55"/>
                      <a:pt x="67" y="48"/>
                      <a:pt x="67" y="34"/>
                    </a:cubicBezTo>
                    <a:cubicBezTo>
                      <a:pt x="67" y="19"/>
                      <a:pt x="60" y="11"/>
                      <a:pt x="45" y="11"/>
                    </a:cubicBezTo>
                    <a:cubicBezTo>
                      <a:pt x="38" y="11"/>
                      <a:pt x="32" y="13"/>
                      <a:pt x="29" y="17"/>
                    </a:cubicBezTo>
                    <a:cubicBezTo>
                      <a:pt x="25" y="21"/>
                      <a:pt x="23" y="26"/>
                      <a:pt x="23" y="3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808"/>
              <p:cNvSpPr>
                <a:spLocks noEditPoints="1"/>
              </p:cNvSpPr>
              <p:nvPr/>
            </p:nvSpPr>
            <p:spPr bwMode="auto">
              <a:xfrm>
                <a:off x="3519407" y="4152080"/>
                <a:ext cx="111365" cy="142401"/>
              </a:xfrm>
              <a:custGeom>
                <a:avLst/>
                <a:gdLst>
                  <a:gd name="T0" fmla="*/ 69 w 80"/>
                  <a:gd name="T1" fmla="*/ 101 h 103"/>
                  <a:gd name="T2" fmla="*/ 66 w 80"/>
                  <a:gd name="T3" fmla="*/ 87 h 103"/>
                  <a:gd name="T4" fmla="*/ 65 w 80"/>
                  <a:gd name="T5" fmla="*/ 87 h 103"/>
                  <a:gd name="T6" fmla="*/ 50 w 80"/>
                  <a:gd name="T7" fmla="*/ 100 h 103"/>
                  <a:gd name="T8" fmla="*/ 32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4" y="22"/>
                      <a:pt x="60" y="18"/>
                    </a:cubicBezTo>
                    <a:cubicBezTo>
                      <a:pt x="57" y="15"/>
                      <a:pt x="51" y="13"/>
                      <a:pt x="44" y="13"/>
                    </a:cubicBezTo>
                    <a:cubicBezTo>
                      <a:pt x="36" y="13"/>
                      <a:pt x="26" y="15"/>
                      <a:pt x="16" y="20"/>
                    </a:cubicBezTo>
                    <a:cubicBezTo>
                      <a:pt x="11" y="9"/>
                      <a:pt x="11" y="9"/>
                      <a:pt x="11" y="9"/>
                    </a:cubicBezTo>
                    <a:cubicBezTo>
                      <a:pt x="16" y="6"/>
                      <a:pt x="22" y="4"/>
                      <a:pt x="27" y="3"/>
                    </a:cubicBezTo>
                    <a:cubicBezTo>
                      <a:pt x="33" y="1"/>
                      <a:pt x="39" y="0"/>
                      <a:pt x="45" y="0"/>
                    </a:cubicBezTo>
                    <a:cubicBezTo>
                      <a:pt x="57" y="0"/>
                      <a:pt x="66" y="3"/>
                      <a:pt x="71" y="8"/>
                    </a:cubicBezTo>
                    <a:cubicBezTo>
                      <a:pt x="77" y="13"/>
                      <a:pt x="80" y="22"/>
                      <a:pt x="80" y="34"/>
                    </a:cubicBezTo>
                    <a:cubicBezTo>
                      <a:pt x="80" y="101"/>
                      <a:pt x="80" y="101"/>
                      <a:pt x="80" y="101"/>
                    </a:cubicBezTo>
                    <a:lnTo>
                      <a:pt x="69" y="101"/>
                    </a:lnTo>
                    <a:close/>
                    <a:moveTo>
                      <a:pt x="35"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9" y="62"/>
                      <a:pt x="16" y="67"/>
                      <a:pt x="16" y="74"/>
                    </a:cubicBezTo>
                    <a:cubicBezTo>
                      <a:pt x="16" y="80"/>
                      <a:pt x="18" y="84"/>
                      <a:pt x="21" y="87"/>
                    </a:cubicBezTo>
                    <a:cubicBezTo>
                      <a:pt x="24" y="89"/>
                      <a:pt x="29" y="91"/>
                      <a:pt x="35"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09"/>
              <p:cNvSpPr>
                <a:spLocks/>
              </p:cNvSpPr>
              <p:nvPr/>
            </p:nvSpPr>
            <p:spPr bwMode="auto">
              <a:xfrm>
                <a:off x="3666373" y="4152080"/>
                <a:ext cx="115017" cy="139663"/>
              </a:xfrm>
              <a:custGeom>
                <a:avLst/>
                <a:gdLst>
                  <a:gd name="T0" fmla="*/ 68 w 83"/>
                  <a:gd name="T1" fmla="*/ 101 h 101"/>
                  <a:gd name="T2" fmla="*/ 68 w 83"/>
                  <a:gd name="T3" fmla="*/ 37 h 101"/>
                  <a:gd name="T4" fmla="*/ 63 w 83"/>
                  <a:gd name="T5" fmla="*/ 19 h 101"/>
                  <a:gd name="T6" fmla="*/ 45 w 83"/>
                  <a:gd name="T7" fmla="*/ 13 h 101"/>
                  <a:gd name="T8" fmla="*/ 23 w 83"/>
                  <a:gd name="T9" fmla="*/ 21 h 101"/>
                  <a:gd name="T10" fmla="*/ 15 w 83"/>
                  <a:gd name="T11" fmla="*/ 49 h 101"/>
                  <a:gd name="T12" fmla="*/ 15 w 83"/>
                  <a:gd name="T13" fmla="*/ 101 h 101"/>
                  <a:gd name="T14" fmla="*/ 0 w 83"/>
                  <a:gd name="T15" fmla="*/ 101 h 101"/>
                  <a:gd name="T16" fmla="*/ 0 w 83"/>
                  <a:gd name="T17" fmla="*/ 2 h 101"/>
                  <a:gd name="T18" fmla="*/ 13 w 83"/>
                  <a:gd name="T19" fmla="*/ 2 h 101"/>
                  <a:gd name="T20" fmla="*/ 15 w 83"/>
                  <a:gd name="T21" fmla="*/ 16 h 101"/>
                  <a:gd name="T22" fmla="*/ 16 w 83"/>
                  <a:gd name="T23" fmla="*/ 16 h 101"/>
                  <a:gd name="T24" fmla="*/ 29 w 83"/>
                  <a:gd name="T25" fmla="*/ 4 h 101"/>
                  <a:gd name="T26" fmla="*/ 47 w 83"/>
                  <a:gd name="T27" fmla="*/ 0 h 101"/>
                  <a:gd name="T28" fmla="*/ 74 w 83"/>
                  <a:gd name="T29" fmla="*/ 9 h 101"/>
                  <a:gd name="T30" fmla="*/ 83 w 83"/>
                  <a:gd name="T31" fmla="*/ 37 h 101"/>
                  <a:gd name="T32" fmla="*/ 83 w 83"/>
                  <a:gd name="T33" fmla="*/ 101 h 101"/>
                  <a:gd name="T34" fmla="*/ 68 w 83"/>
                  <a:gd name="T3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1">
                    <a:moveTo>
                      <a:pt x="68" y="101"/>
                    </a:moveTo>
                    <a:cubicBezTo>
                      <a:pt x="68" y="37"/>
                      <a:pt x="68" y="37"/>
                      <a:pt x="68" y="37"/>
                    </a:cubicBezTo>
                    <a:cubicBezTo>
                      <a:pt x="68" y="29"/>
                      <a:pt x="67" y="23"/>
                      <a:pt x="63" y="19"/>
                    </a:cubicBezTo>
                    <a:cubicBezTo>
                      <a:pt x="59" y="15"/>
                      <a:pt x="53" y="13"/>
                      <a:pt x="45" y="13"/>
                    </a:cubicBezTo>
                    <a:cubicBezTo>
                      <a:pt x="35" y="13"/>
                      <a:pt x="27" y="16"/>
                      <a:pt x="23" y="21"/>
                    </a:cubicBezTo>
                    <a:cubicBezTo>
                      <a:pt x="18" y="27"/>
                      <a:pt x="15" y="36"/>
                      <a:pt x="15" y="49"/>
                    </a:cubicBezTo>
                    <a:cubicBezTo>
                      <a:pt x="15" y="101"/>
                      <a:pt x="15" y="101"/>
                      <a:pt x="15" y="101"/>
                    </a:cubicBezTo>
                    <a:cubicBezTo>
                      <a:pt x="0" y="101"/>
                      <a:pt x="0" y="101"/>
                      <a:pt x="0" y="101"/>
                    </a:cubicBezTo>
                    <a:cubicBezTo>
                      <a:pt x="0" y="2"/>
                      <a:pt x="0" y="2"/>
                      <a:pt x="0" y="2"/>
                    </a:cubicBezTo>
                    <a:cubicBezTo>
                      <a:pt x="13" y="2"/>
                      <a:pt x="13" y="2"/>
                      <a:pt x="13" y="2"/>
                    </a:cubicBezTo>
                    <a:cubicBezTo>
                      <a:pt x="15" y="16"/>
                      <a:pt x="15" y="16"/>
                      <a:pt x="15" y="16"/>
                    </a:cubicBezTo>
                    <a:cubicBezTo>
                      <a:pt x="16" y="16"/>
                      <a:pt x="16" y="16"/>
                      <a:pt x="16" y="16"/>
                    </a:cubicBezTo>
                    <a:cubicBezTo>
                      <a:pt x="19" y="11"/>
                      <a:pt x="23" y="7"/>
                      <a:pt x="29" y="4"/>
                    </a:cubicBezTo>
                    <a:cubicBezTo>
                      <a:pt x="34" y="1"/>
                      <a:pt x="40" y="0"/>
                      <a:pt x="47" y="0"/>
                    </a:cubicBezTo>
                    <a:cubicBezTo>
                      <a:pt x="59" y="0"/>
                      <a:pt x="68" y="3"/>
                      <a:pt x="74" y="9"/>
                    </a:cubicBezTo>
                    <a:cubicBezTo>
                      <a:pt x="80" y="15"/>
                      <a:pt x="83" y="24"/>
                      <a:pt x="83" y="37"/>
                    </a:cubicBezTo>
                    <a:cubicBezTo>
                      <a:pt x="83" y="101"/>
                      <a:pt x="83" y="101"/>
                      <a:pt x="83" y="101"/>
                    </a:cubicBezTo>
                    <a:lnTo>
                      <a:pt x="6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810"/>
              <p:cNvSpPr>
                <a:spLocks noEditPoints="1"/>
              </p:cNvSpPr>
              <p:nvPr/>
            </p:nvSpPr>
            <p:spPr bwMode="auto">
              <a:xfrm>
                <a:off x="3877237" y="4103700"/>
                <a:ext cx="24646" cy="188043"/>
              </a:xfrm>
              <a:custGeom>
                <a:avLst/>
                <a:gdLst>
                  <a:gd name="T0" fmla="*/ 0 w 18"/>
                  <a:gd name="T1" fmla="*/ 10 h 136"/>
                  <a:gd name="T2" fmla="*/ 3 w 18"/>
                  <a:gd name="T3" fmla="*/ 2 h 136"/>
                  <a:gd name="T4" fmla="*/ 9 w 18"/>
                  <a:gd name="T5" fmla="*/ 0 h 136"/>
                  <a:gd name="T6" fmla="*/ 15 w 18"/>
                  <a:gd name="T7" fmla="*/ 2 h 136"/>
                  <a:gd name="T8" fmla="*/ 18 w 18"/>
                  <a:gd name="T9" fmla="*/ 10 h 136"/>
                  <a:gd name="T10" fmla="*/ 15 w 18"/>
                  <a:gd name="T11" fmla="*/ 18 h 136"/>
                  <a:gd name="T12" fmla="*/ 9 w 18"/>
                  <a:gd name="T13" fmla="*/ 20 h 136"/>
                  <a:gd name="T14" fmla="*/ 3 w 18"/>
                  <a:gd name="T15" fmla="*/ 18 h 136"/>
                  <a:gd name="T16" fmla="*/ 0 w 18"/>
                  <a:gd name="T17" fmla="*/ 10 h 136"/>
                  <a:gd name="T18" fmla="*/ 16 w 18"/>
                  <a:gd name="T19" fmla="*/ 136 h 136"/>
                  <a:gd name="T20" fmla="*/ 1 w 18"/>
                  <a:gd name="T21" fmla="*/ 136 h 136"/>
                  <a:gd name="T22" fmla="*/ 1 w 18"/>
                  <a:gd name="T23" fmla="*/ 37 h 136"/>
                  <a:gd name="T24" fmla="*/ 16 w 18"/>
                  <a:gd name="T25" fmla="*/ 37 h 136"/>
                  <a:gd name="T26" fmla="*/ 16 w 18"/>
                  <a:gd name="T2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6">
                    <a:moveTo>
                      <a:pt x="0" y="10"/>
                    </a:moveTo>
                    <a:cubicBezTo>
                      <a:pt x="0" y="7"/>
                      <a:pt x="1" y="4"/>
                      <a:pt x="3" y="2"/>
                    </a:cubicBezTo>
                    <a:cubicBezTo>
                      <a:pt x="4" y="1"/>
                      <a:pt x="6" y="0"/>
                      <a:pt x="9" y="0"/>
                    </a:cubicBezTo>
                    <a:cubicBezTo>
                      <a:pt x="11" y="0"/>
                      <a:pt x="14" y="1"/>
                      <a:pt x="15" y="2"/>
                    </a:cubicBezTo>
                    <a:cubicBezTo>
                      <a:pt x="17" y="4"/>
                      <a:pt x="18" y="7"/>
                      <a:pt x="18" y="10"/>
                    </a:cubicBezTo>
                    <a:cubicBezTo>
                      <a:pt x="18" y="13"/>
                      <a:pt x="17" y="16"/>
                      <a:pt x="15" y="18"/>
                    </a:cubicBezTo>
                    <a:cubicBezTo>
                      <a:pt x="14" y="19"/>
                      <a:pt x="11" y="20"/>
                      <a:pt x="9" y="20"/>
                    </a:cubicBezTo>
                    <a:cubicBezTo>
                      <a:pt x="6" y="20"/>
                      <a:pt x="4" y="19"/>
                      <a:pt x="3" y="18"/>
                    </a:cubicBezTo>
                    <a:cubicBezTo>
                      <a:pt x="1" y="16"/>
                      <a:pt x="0" y="13"/>
                      <a:pt x="0" y="10"/>
                    </a:cubicBezTo>
                    <a:close/>
                    <a:moveTo>
                      <a:pt x="16" y="136"/>
                    </a:moveTo>
                    <a:cubicBezTo>
                      <a:pt x="1" y="136"/>
                      <a:pt x="1" y="136"/>
                      <a:pt x="1" y="136"/>
                    </a:cubicBezTo>
                    <a:cubicBezTo>
                      <a:pt x="1" y="37"/>
                      <a:pt x="1" y="37"/>
                      <a:pt x="1" y="37"/>
                    </a:cubicBezTo>
                    <a:cubicBezTo>
                      <a:pt x="16" y="37"/>
                      <a:pt x="16" y="37"/>
                      <a:pt x="16" y="37"/>
                    </a:cubicBezTo>
                    <a:lnTo>
                      <a:pt x="16"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811"/>
              <p:cNvSpPr>
                <a:spLocks/>
              </p:cNvSpPr>
              <p:nvPr/>
            </p:nvSpPr>
            <p:spPr bwMode="auto">
              <a:xfrm>
                <a:off x="3937483" y="4152080"/>
                <a:ext cx="197171" cy="139663"/>
              </a:xfrm>
              <a:custGeom>
                <a:avLst/>
                <a:gdLst>
                  <a:gd name="T0" fmla="*/ 127 w 142"/>
                  <a:gd name="T1" fmla="*/ 101 h 101"/>
                  <a:gd name="T2" fmla="*/ 127 w 142"/>
                  <a:gd name="T3" fmla="*/ 37 h 101"/>
                  <a:gd name="T4" fmla="*/ 121 w 142"/>
                  <a:gd name="T5" fmla="*/ 19 h 101"/>
                  <a:gd name="T6" fmla="*/ 106 w 142"/>
                  <a:gd name="T7" fmla="*/ 13 h 101"/>
                  <a:gd name="T8" fmla="*/ 85 w 142"/>
                  <a:gd name="T9" fmla="*/ 21 h 101"/>
                  <a:gd name="T10" fmla="*/ 78 w 142"/>
                  <a:gd name="T11" fmla="*/ 46 h 101"/>
                  <a:gd name="T12" fmla="*/ 78 w 142"/>
                  <a:gd name="T13" fmla="*/ 101 h 101"/>
                  <a:gd name="T14" fmla="*/ 63 w 142"/>
                  <a:gd name="T15" fmla="*/ 101 h 101"/>
                  <a:gd name="T16" fmla="*/ 63 w 142"/>
                  <a:gd name="T17" fmla="*/ 37 h 101"/>
                  <a:gd name="T18" fmla="*/ 58 w 142"/>
                  <a:gd name="T19" fmla="*/ 19 h 101"/>
                  <a:gd name="T20" fmla="*/ 42 w 142"/>
                  <a:gd name="T21" fmla="*/ 13 h 101"/>
                  <a:gd name="T22" fmla="*/ 21 w 142"/>
                  <a:gd name="T23" fmla="*/ 21 h 101"/>
                  <a:gd name="T24" fmla="*/ 15 w 142"/>
                  <a:gd name="T25" fmla="*/ 49 h 101"/>
                  <a:gd name="T26" fmla="*/ 15 w 142"/>
                  <a:gd name="T27" fmla="*/ 101 h 101"/>
                  <a:gd name="T28" fmla="*/ 0 w 142"/>
                  <a:gd name="T29" fmla="*/ 101 h 101"/>
                  <a:gd name="T30" fmla="*/ 0 w 142"/>
                  <a:gd name="T31" fmla="*/ 2 h 101"/>
                  <a:gd name="T32" fmla="*/ 12 w 142"/>
                  <a:gd name="T33" fmla="*/ 2 h 101"/>
                  <a:gd name="T34" fmla="*/ 14 w 142"/>
                  <a:gd name="T35" fmla="*/ 16 h 101"/>
                  <a:gd name="T36" fmla="*/ 15 w 142"/>
                  <a:gd name="T37" fmla="*/ 16 h 101"/>
                  <a:gd name="T38" fmla="*/ 27 w 142"/>
                  <a:gd name="T39" fmla="*/ 4 h 101"/>
                  <a:gd name="T40" fmla="*/ 45 w 142"/>
                  <a:gd name="T41" fmla="*/ 0 h 101"/>
                  <a:gd name="T42" fmla="*/ 75 w 142"/>
                  <a:gd name="T43" fmla="*/ 17 h 101"/>
                  <a:gd name="T44" fmla="*/ 76 w 142"/>
                  <a:gd name="T45" fmla="*/ 17 h 101"/>
                  <a:gd name="T46" fmla="*/ 89 w 142"/>
                  <a:gd name="T47" fmla="*/ 5 h 101"/>
                  <a:gd name="T48" fmla="*/ 108 w 142"/>
                  <a:gd name="T49" fmla="*/ 0 h 101"/>
                  <a:gd name="T50" fmla="*/ 133 w 142"/>
                  <a:gd name="T51" fmla="*/ 9 h 101"/>
                  <a:gd name="T52" fmla="*/ 142 w 142"/>
                  <a:gd name="T53" fmla="*/ 37 h 101"/>
                  <a:gd name="T54" fmla="*/ 142 w 142"/>
                  <a:gd name="T55" fmla="*/ 101 h 101"/>
                  <a:gd name="T56" fmla="*/ 127 w 142"/>
                  <a:gd name="T5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01">
                    <a:moveTo>
                      <a:pt x="127" y="101"/>
                    </a:moveTo>
                    <a:cubicBezTo>
                      <a:pt x="127" y="37"/>
                      <a:pt x="127" y="37"/>
                      <a:pt x="127" y="37"/>
                    </a:cubicBezTo>
                    <a:cubicBezTo>
                      <a:pt x="127" y="29"/>
                      <a:pt x="125" y="23"/>
                      <a:pt x="121" y="19"/>
                    </a:cubicBezTo>
                    <a:cubicBezTo>
                      <a:pt x="118" y="15"/>
                      <a:pt x="113" y="13"/>
                      <a:pt x="106" y="13"/>
                    </a:cubicBezTo>
                    <a:cubicBezTo>
                      <a:pt x="96" y="13"/>
                      <a:pt x="89" y="16"/>
                      <a:pt x="85" y="21"/>
                    </a:cubicBezTo>
                    <a:cubicBezTo>
                      <a:pt x="80" y="26"/>
                      <a:pt x="78" y="35"/>
                      <a:pt x="78" y="46"/>
                    </a:cubicBezTo>
                    <a:cubicBezTo>
                      <a:pt x="78" y="101"/>
                      <a:pt x="78" y="101"/>
                      <a:pt x="78" y="101"/>
                    </a:cubicBezTo>
                    <a:cubicBezTo>
                      <a:pt x="63" y="101"/>
                      <a:pt x="63" y="101"/>
                      <a:pt x="63" y="101"/>
                    </a:cubicBezTo>
                    <a:cubicBezTo>
                      <a:pt x="63" y="37"/>
                      <a:pt x="63" y="37"/>
                      <a:pt x="63" y="37"/>
                    </a:cubicBezTo>
                    <a:cubicBezTo>
                      <a:pt x="63" y="29"/>
                      <a:pt x="61" y="23"/>
                      <a:pt x="58" y="19"/>
                    </a:cubicBezTo>
                    <a:cubicBezTo>
                      <a:pt x="55" y="15"/>
                      <a:pt x="49" y="13"/>
                      <a:pt x="42" y="13"/>
                    </a:cubicBezTo>
                    <a:cubicBezTo>
                      <a:pt x="33" y="13"/>
                      <a:pt x="26" y="16"/>
                      <a:pt x="21" y="21"/>
                    </a:cubicBezTo>
                    <a:cubicBezTo>
                      <a:pt x="17" y="27"/>
                      <a:pt x="15" y="36"/>
                      <a:pt x="15" y="49"/>
                    </a:cubicBezTo>
                    <a:cubicBezTo>
                      <a:pt x="15" y="101"/>
                      <a:pt x="15" y="101"/>
                      <a:pt x="15" y="101"/>
                    </a:cubicBezTo>
                    <a:cubicBezTo>
                      <a:pt x="0" y="101"/>
                      <a:pt x="0" y="101"/>
                      <a:pt x="0" y="101"/>
                    </a:cubicBezTo>
                    <a:cubicBezTo>
                      <a:pt x="0" y="2"/>
                      <a:pt x="0" y="2"/>
                      <a:pt x="0" y="2"/>
                    </a:cubicBezTo>
                    <a:cubicBezTo>
                      <a:pt x="12" y="2"/>
                      <a:pt x="12" y="2"/>
                      <a:pt x="12" y="2"/>
                    </a:cubicBezTo>
                    <a:cubicBezTo>
                      <a:pt x="14" y="16"/>
                      <a:pt x="14" y="16"/>
                      <a:pt x="14" y="16"/>
                    </a:cubicBezTo>
                    <a:cubicBezTo>
                      <a:pt x="15" y="16"/>
                      <a:pt x="15" y="16"/>
                      <a:pt x="15" y="16"/>
                    </a:cubicBezTo>
                    <a:cubicBezTo>
                      <a:pt x="18" y="11"/>
                      <a:pt x="22" y="7"/>
                      <a:pt x="27" y="4"/>
                    </a:cubicBezTo>
                    <a:cubicBezTo>
                      <a:pt x="32" y="2"/>
                      <a:pt x="38" y="0"/>
                      <a:pt x="45" y="0"/>
                    </a:cubicBezTo>
                    <a:cubicBezTo>
                      <a:pt x="60" y="0"/>
                      <a:pt x="70" y="6"/>
                      <a:pt x="75" y="17"/>
                    </a:cubicBezTo>
                    <a:cubicBezTo>
                      <a:pt x="76" y="17"/>
                      <a:pt x="76" y="17"/>
                      <a:pt x="76" y="17"/>
                    </a:cubicBezTo>
                    <a:cubicBezTo>
                      <a:pt x="79" y="12"/>
                      <a:pt x="83" y="8"/>
                      <a:pt x="89" y="5"/>
                    </a:cubicBezTo>
                    <a:cubicBezTo>
                      <a:pt x="94" y="2"/>
                      <a:pt x="101" y="0"/>
                      <a:pt x="108" y="0"/>
                    </a:cubicBezTo>
                    <a:cubicBezTo>
                      <a:pt x="119" y="0"/>
                      <a:pt x="128" y="3"/>
                      <a:pt x="133" y="9"/>
                    </a:cubicBezTo>
                    <a:cubicBezTo>
                      <a:pt x="139" y="15"/>
                      <a:pt x="142" y="24"/>
                      <a:pt x="142" y="37"/>
                    </a:cubicBezTo>
                    <a:cubicBezTo>
                      <a:pt x="142" y="101"/>
                      <a:pt x="142" y="101"/>
                      <a:pt x="142" y="101"/>
                    </a:cubicBezTo>
                    <a:lnTo>
                      <a:pt x="12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812"/>
              <p:cNvSpPr>
                <a:spLocks noEditPoints="1"/>
              </p:cNvSpPr>
              <p:nvPr/>
            </p:nvSpPr>
            <p:spPr bwMode="auto">
              <a:xfrm>
                <a:off x="4170255" y="4152080"/>
                <a:ext cx="121406" cy="201735"/>
              </a:xfrm>
              <a:custGeom>
                <a:avLst/>
                <a:gdLst>
                  <a:gd name="T0" fmla="*/ 46 w 88"/>
                  <a:gd name="T1" fmla="*/ 103 h 146"/>
                  <a:gd name="T2" fmla="*/ 29 w 88"/>
                  <a:gd name="T3" fmla="*/ 100 h 146"/>
                  <a:gd name="T4" fmla="*/ 15 w 88"/>
                  <a:gd name="T5" fmla="*/ 89 h 146"/>
                  <a:gd name="T6" fmla="*/ 14 w 88"/>
                  <a:gd name="T7" fmla="*/ 89 h 146"/>
                  <a:gd name="T8" fmla="*/ 15 w 88"/>
                  <a:gd name="T9" fmla="*/ 105 h 146"/>
                  <a:gd name="T10" fmla="*/ 15 w 88"/>
                  <a:gd name="T11" fmla="*/ 146 h 146"/>
                  <a:gd name="T12" fmla="*/ 0 w 88"/>
                  <a:gd name="T13" fmla="*/ 146 h 146"/>
                  <a:gd name="T14" fmla="*/ 0 w 88"/>
                  <a:gd name="T15" fmla="*/ 2 h 146"/>
                  <a:gd name="T16" fmla="*/ 12 w 88"/>
                  <a:gd name="T17" fmla="*/ 2 h 146"/>
                  <a:gd name="T18" fmla="*/ 14 w 88"/>
                  <a:gd name="T19" fmla="*/ 16 h 146"/>
                  <a:gd name="T20" fmla="*/ 15 w 88"/>
                  <a:gd name="T21" fmla="*/ 16 h 146"/>
                  <a:gd name="T22" fmla="*/ 29 w 88"/>
                  <a:gd name="T23" fmla="*/ 4 h 146"/>
                  <a:gd name="T24" fmla="*/ 46 w 88"/>
                  <a:gd name="T25" fmla="*/ 0 h 146"/>
                  <a:gd name="T26" fmla="*/ 77 w 88"/>
                  <a:gd name="T27" fmla="*/ 14 h 146"/>
                  <a:gd name="T28" fmla="*/ 88 w 88"/>
                  <a:gd name="T29" fmla="*/ 52 h 146"/>
                  <a:gd name="T30" fmla="*/ 77 w 88"/>
                  <a:gd name="T31" fmla="*/ 90 h 146"/>
                  <a:gd name="T32" fmla="*/ 46 w 88"/>
                  <a:gd name="T33" fmla="*/ 103 h 146"/>
                  <a:gd name="T34" fmla="*/ 44 w 88"/>
                  <a:gd name="T35" fmla="*/ 13 h 146"/>
                  <a:gd name="T36" fmla="*/ 22 w 88"/>
                  <a:gd name="T37" fmla="*/ 21 h 146"/>
                  <a:gd name="T38" fmla="*/ 15 w 88"/>
                  <a:gd name="T39" fmla="*/ 48 h 146"/>
                  <a:gd name="T40" fmla="*/ 15 w 88"/>
                  <a:gd name="T41" fmla="*/ 52 h 146"/>
                  <a:gd name="T42" fmla="*/ 22 w 88"/>
                  <a:gd name="T43" fmla="*/ 82 h 146"/>
                  <a:gd name="T44" fmla="*/ 45 w 88"/>
                  <a:gd name="T45" fmla="*/ 91 h 146"/>
                  <a:gd name="T46" fmla="*/ 65 w 88"/>
                  <a:gd name="T47" fmla="*/ 80 h 146"/>
                  <a:gd name="T48" fmla="*/ 72 w 88"/>
                  <a:gd name="T49" fmla="*/ 51 h 146"/>
                  <a:gd name="T50" fmla="*/ 65 w 88"/>
                  <a:gd name="T51" fmla="*/ 23 h 146"/>
                  <a:gd name="T52" fmla="*/ 44 w 88"/>
                  <a:gd name="T53" fmla="*/ 1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146">
                    <a:moveTo>
                      <a:pt x="46" y="103"/>
                    </a:moveTo>
                    <a:cubicBezTo>
                      <a:pt x="40" y="103"/>
                      <a:pt x="34" y="102"/>
                      <a:pt x="29" y="100"/>
                    </a:cubicBezTo>
                    <a:cubicBezTo>
                      <a:pt x="23" y="97"/>
                      <a:pt x="19" y="94"/>
                      <a:pt x="15" y="89"/>
                    </a:cubicBezTo>
                    <a:cubicBezTo>
                      <a:pt x="14" y="89"/>
                      <a:pt x="14" y="89"/>
                      <a:pt x="14" y="89"/>
                    </a:cubicBezTo>
                    <a:cubicBezTo>
                      <a:pt x="15" y="94"/>
                      <a:pt x="15" y="100"/>
                      <a:pt x="15" y="105"/>
                    </a:cubicBezTo>
                    <a:cubicBezTo>
                      <a:pt x="15" y="146"/>
                      <a:pt x="15" y="146"/>
                      <a:pt x="15" y="146"/>
                    </a:cubicBezTo>
                    <a:cubicBezTo>
                      <a:pt x="0" y="146"/>
                      <a:pt x="0" y="146"/>
                      <a:pt x="0" y="146"/>
                    </a:cubicBezTo>
                    <a:cubicBezTo>
                      <a:pt x="0" y="2"/>
                      <a:pt x="0" y="2"/>
                      <a:pt x="0" y="2"/>
                    </a:cubicBezTo>
                    <a:cubicBezTo>
                      <a:pt x="12" y="2"/>
                      <a:pt x="12" y="2"/>
                      <a:pt x="12" y="2"/>
                    </a:cubicBezTo>
                    <a:cubicBezTo>
                      <a:pt x="14" y="16"/>
                      <a:pt x="14" y="16"/>
                      <a:pt x="14" y="16"/>
                    </a:cubicBezTo>
                    <a:cubicBezTo>
                      <a:pt x="15" y="16"/>
                      <a:pt x="15" y="16"/>
                      <a:pt x="15" y="16"/>
                    </a:cubicBezTo>
                    <a:cubicBezTo>
                      <a:pt x="19" y="10"/>
                      <a:pt x="23" y="6"/>
                      <a:pt x="29" y="4"/>
                    </a:cubicBezTo>
                    <a:cubicBezTo>
                      <a:pt x="34" y="1"/>
                      <a:pt x="40" y="0"/>
                      <a:pt x="46" y="0"/>
                    </a:cubicBezTo>
                    <a:cubicBezTo>
                      <a:pt x="60" y="0"/>
                      <a:pt x="70" y="5"/>
                      <a:pt x="77" y="14"/>
                    </a:cubicBezTo>
                    <a:cubicBezTo>
                      <a:pt x="84" y="23"/>
                      <a:pt x="88" y="35"/>
                      <a:pt x="88" y="52"/>
                    </a:cubicBezTo>
                    <a:cubicBezTo>
                      <a:pt x="88" y="68"/>
                      <a:pt x="84" y="81"/>
                      <a:pt x="77" y="90"/>
                    </a:cubicBezTo>
                    <a:cubicBezTo>
                      <a:pt x="69" y="99"/>
                      <a:pt x="59" y="103"/>
                      <a:pt x="46" y="103"/>
                    </a:cubicBezTo>
                    <a:close/>
                    <a:moveTo>
                      <a:pt x="44" y="13"/>
                    </a:moveTo>
                    <a:cubicBezTo>
                      <a:pt x="34" y="13"/>
                      <a:pt x="27" y="16"/>
                      <a:pt x="22" y="21"/>
                    </a:cubicBezTo>
                    <a:cubicBezTo>
                      <a:pt x="18" y="27"/>
                      <a:pt x="15" y="36"/>
                      <a:pt x="15" y="48"/>
                    </a:cubicBezTo>
                    <a:cubicBezTo>
                      <a:pt x="15" y="52"/>
                      <a:pt x="15" y="52"/>
                      <a:pt x="15" y="52"/>
                    </a:cubicBezTo>
                    <a:cubicBezTo>
                      <a:pt x="15" y="66"/>
                      <a:pt x="17" y="76"/>
                      <a:pt x="22" y="82"/>
                    </a:cubicBezTo>
                    <a:cubicBezTo>
                      <a:pt x="27" y="88"/>
                      <a:pt x="34" y="91"/>
                      <a:pt x="45" y="91"/>
                    </a:cubicBezTo>
                    <a:cubicBezTo>
                      <a:pt x="53" y="91"/>
                      <a:pt x="60" y="87"/>
                      <a:pt x="65" y="80"/>
                    </a:cubicBezTo>
                    <a:cubicBezTo>
                      <a:pt x="70" y="73"/>
                      <a:pt x="72" y="64"/>
                      <a:pt x="72" y="51"/>
                    </a:cubicBezTo>
                    <a:cubicBezTo>
                      <a:pt x="72" y="39"/>
                      <a:pt x="70" y="30"/>
                      <a:pt x="65" y="23"/>
                    </a:cubicBezTo>
                    <a:cubicBezTo>
                      <a:pt x="60" y="16"/>
                      <a:pt x="53" y="13"/>
                      <a:pt x="44"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813"/>
              <p:cNvSpPr>
                <a:spLocks noEditPoints="1"/>
              </p:cNvSpPr>
              <p:nvPr/>
            </p:nvSpPr>
            <p:spPr bwMode="auto">
              <a:xfrm>
                <a:off x="4311744" y="4152080"/>
                <a:ext cx="110452" cy="142401"/>
              </a:xfrm>
              <a:custGeom>
                <a:avLst/>
                <a:gdLst>
                  <a:gd name="T0" fmla="*/ 69 w 80"/>
                  <a:gd name="T1" fmla="*/ 101 h 103"/>
                  <a:gd name="T2" fmla="*/ 66 w 80"/>
                  <a:gd name="T3" fmla="*/ 87 h 103"/>
                  <a:gd name="T4" fmla="*/ 65 w 80"/>
                  <a:gd name="T5" fmla="*/ 87 h 103"/>
                  <a:gd name="T6" fmla="*/ 50 w 80"/>
                  <a:gd name="T7" fmla="*/ 100 h 103"/>
                  <a:gd name="T8" fmla="*/ 31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4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4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1"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7" y="15"/>
                      <a:pt x="51" y="13"/>
                      <a:pt x="44" y="13"/>
                    </a:cubicBezTo>
                    <a:cubicBezTo>
                      <a:pt x="36" y="13"/>
                      <a:pt x="26" y="15"/>
                      <a:pt x="16" y="20"/>
                    </a:cubicBezTo>
                    <a:cubicBezTo>
                      <a:pt x="11" y="9"/>
                      <a:pt x="11" y="9"/>
                      <a:pt x="11" y="9"/>
                    </a:cubicBezTo>
                    <a:cubicBezTo>
                      <a:pt x="16" y="6"/>
                      <a:pt x="21" y="4"/>
                      <a:pt x="27" y="3"/>
                    </a:cubicBezTo>
                    <a:cubicBezTo>
                      <a:pt x="33" y="1"/>
                      <a:pt x="39" y="0"/>
                      <a:pt x="45" y="0"/>
                    </a:cubicBezTo>
                    <a:cubicBezTo>
                      <a:pt x="57" y="0"/>
                      <a:pt x="65" y="3"/>
                      <a:pt x="71" y="8"/>
                    </a:cubicBezTo>
                    <a:cubicBezTo>
                      <a:pt x="77" y="13"/>
                      <a:pt x="80" y="22"/>
                      <a:pt x="80" y="34"/>
                    </a:cubicBezTo>
                    <a:cubicBezTo>
                      <a:pt x="80" y="101"/>
                      <a:pt x="80" y="101"/>
                      <a:pt x="80" y="101"/>
                    </a:cubicBezTo>
                    <a:lnTo>
                      <a:pt x="69" y="101"/>
                    </a:lnTo>
                    <a:close/>
                    <a:moveTo>
                      <a:pt x="34"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8" y="62"/>
                      <a:pt x="16" y="67"/>
                      <a:pt x="16" y="74"/>
                    </a:cubicBezTo>
                    <a:cubicBezTo>
                      <a:pt x="16" y="80"/>
                      <a:pt x="17" y="84"/>
                      <a:pt x="21" y="87"/>
                    </a:cubicBezTo>
                    <a:cubicBezTo>
                      <a:pt x="24" y="89"/>
                      <a:pt x="29"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814"/>
              <p:cNvSpPr>
                <a:spLocks/>
              </p:cNvSpPr>
              <p:nvPr/>
            </p:nvSpPr>
            <p:spPr bwMode="auto">
              <a:xfrm>
                <a:off x="4451407" y="4152080"/>
                <a:ext cx="97673" cy="142401"/>
              </a:xfrm>
              <a:custGeom>
                <a:avLst/>
                <a:gdLst>
                  <a:gd name="T0" fmla="*/ 45 w 71"/>
                  <a:gd name="T1" fmla="*/ 103 h 103"/>
                  <a:gd name="T2" fmla="*/ 11 w 71"/>
                  <a:gd name="T3" fmla="*/ 90 h 103"/>
                  <a:gd name="T4" fmla="*/ 0 w 71"/>
                  <a:gd name="T5" fmla="*/ 52 h 103"/>
                  <a:gd name="T6" fmla="*/ 12 w 71"/>
                  <a:gd name="T7" fmla="*/ 14 h 103"/>
                  <a:gd name="T8" fmla="*/ 46 w 71"/>
                  <a:gd name="T9" fmla="*/ 0 h 103"/>
                  <a:gd name="T10" fmla="*/ 60 w 71"/>
                  <a:gd name="T11" fmla="*/ 2 h 103"/>
                  <a:gd name="T12" fmla="*/ 71 w 71"/>
                  <a:gd name="T13" fmla="*/ 5 h 103"/>
                  <a:gd name="T14" fmla="*/ 67 w 71"/>
                  <a:gd name="T15" fmla="*/ 18 h 103"/>
                  <a:gd name="T16" fmla="*/ 56 w 71"/>
                  <a:gd name="T17" fmla="*/ 15 h 103"/>
                  <a:gd name="T18" fmla="*/ 45 w 71"/>
                  <a:gd name="T19" fmla="*/ 13 h 103"/>
                  <a:gd name="T20" fmla="*/ 15 w 71"/>
                  <a:gd name="T21" fmla="*/ 52 h 103"/>
                  <a:gd name="T22" fmla="*/ 23 w 71"/>
                  <a:gd name="T23" fmla="*/ 80 h 103"/>
                  <a:gd name="T24" fmla="*/ 44 w 71"/>
                  <a:gd name="T25" fmla="*/ 90 h 103"/>
                  <a:gd name="T26" fmla="*/ 70 w 71"/>
                  <a:gd name="T27" fmla="*/ 85 h 103"/>
                  <a:gd name="T28" fmla="*/ 70 w 71"/>
                  <a:gd name="T29" fmla="*/ 98 h 103"/>
                  <a:gd name="T30" fmla="*/ 45 w 71"/>
                  <a:gd name="T3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03">
                    <a:moveTo>
                      <a:pt x="45" y="103"/>
                    </a:moveTo>
                    <a:cubicBezTo>
                      <a:pt x="30" y="103"/>
                      <a:pt x="19" y="99"/>
                      <a:pt x="11" y="90"/>
                    </a:cubicBezTo>
                    <a:cubicBezTo>
                      <a:pt x="3" y="81"/>
                      <a:pt x="0" y="69"/>
                      <a:pt x="0" y="52"/>
                    </a:cubicBezTo>
                    <a:cubicBezTo>
                      <a:pt x="0" y="36"/>
                      <a:pt x="4" y="23"/>
                      <a:pt x="12" y="14"/>
                    </a:cubicBezTo>
                    <a:cubicBezTo>
                      <a:pt x="20" y="5"/>
                      <a:pt x="31" y="0"/>
                      <a:pt x="46" y="0"/>
                    </a:cubicBezTo>
                    <a:cubicBezTo>
                      <a:pt x="51" y="0"/>
                      <a:pt x="55" y="1"/>
                      <a:pt x="60" y="2"/>
                    </a:cubicBezTo>
                    <a:cubicBezTo>
                      <a:pt x="65" y="3"/>
                      <a:pt x="69" y="4"/>
                      <a:pt x="71" y="5"/>
                    </a:cubicBezTo>
                    <a:cubicBezTo>
                      <a:pt x="67" y="18"/>
                      <a:pt x="67" y="18"/>
                      <a:pt x="67" y="18"/>
                    </a:cubicBezTo>
                    <a:cubicBezTo>
                      <a:pt x="63" y="17"/>
                      <a:pt x="60" y="16"/>
                      <a:pt x="56" y="15"/>
                    </a:cubicBezTo>
                    <a:cubicBezTo>
                      <a:pt x="52" y="14"/>
                      <a:pt x="48" y="13"/>
                      <a:pt x="45" y="13"/>
                    </a:cubicBezTo>
                    <a:cubicBezTo>
                      <a:pt x="25" y="13"/>
                      <a:pt x="15" y="26"/>
                      <a:pt x="15" y="52"/>
                    </a:cubicBezTo>
                    <a:cubicBezTo>
                      <a:pt x="15" y="64"/>
                      <a:pt x="18" y="74"/>
                      <a:pt x="23" y="80"/>
                    </a:cubicBezTo>
                    <a:cubicBezTo>
                      <a:pt x="27" y="87"/>
                      <a:pt x="35" y="90"/>
                      <a:pt x="44" y="90"/>
                    </a:cubicBezTo>
                    <a:cubicBezTo>
                      <a:pt x="53" y="90"/>
                      <a:pt x="61" y="88"/>
                      <a:pt x="70" y="85"/>
                    </a:cubicBezTo>
                    <a:cubicBezTo>
                      <a:pt x="70" y="98"/>
                      <a:pt x="70" y="98"/>
                      <a:pt x="70" y="98"/>
                    </a:cubicBezTo>
                    <a:cubicBezTo>
                      <a:pt x="63" y="102"/>
                      <a:pt x="55" y="103"/>
                      <a:pt x="45" y="10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815"/>
              <p:cNvSpPr>
                <a:spLocks/>
              </p:cNvSpPr>
              <p:nvPr/>
            </p:nvSpPr>
            <p:spPr bwMode="auto">
              <a:xfrm>
                <a:off x="4556382" y="4122869"/>
                <a:ext cx="82155" cy="171612"/>
              </a:xfrm>
              <a:custGeom>
                <a:avLst/>
                <a:gdLst>
                  <a:gd name="T0" fmla="*/ 45 w 59"/>
                  <a:gd name="T1" fmla="*/ 112 h 124"/>
                  <a:gd name="T2" fmla="*/ 53 w 59"/>
                  <a:gd name="T3" fmla="*/ 111 h 124"/>
                  <a:gd name="T4" fmla="*/ 59 w 59"/>
                  <a:gd name="T5" fmla="*/ 110 h 124"/>
                  <a:gd name="T6" fmla="*/ 59 w 59"/>
                  <a:gd name="T7" fmla="*/ 122 h 124"/>
                  <a:gd name="T8" fmla="*/ 51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0 w 59"/>
                  <a:gd name="T23" fmla="*/ 0 h 124"/>
                  <a:gd name="T24" fmla="*/ 29 w 59"/>
                  <a:gd name="T25" fmla="*/ 0 h 124"/>
                  <a:gd name="T26" fmla="*/ 29 w 59"/>
                  <a:gd name="T27" fmla="*/ 23 h 124"/>
                  <a:gd name="T28" fmla="*/ 58 w 59"/>
                  <a:gd name="T29" fmla="*/ 23 h 124"/>
                  <a:gd name="T30" fmla="*/ 58 w 59"/>
                  <a:gd name="T31" fmla="*/ 35 h 124"/>
                  <a:gd name="T32" fmla="*/ 29 w 59"/>
                  <a:gd name="T33" fmla="*/ 35 h 124"/>
                  <a:gd name="T34" fmla="*/ 29 w 59"/>
                  <a:gd name="T35" fmla="*/ 93 h 124"/>
                  <a:gd name="T36" fmla="*/ 33 w 59"/>
                  <a:gd name="T37" fmla="*/ 107 h 124"/>
                  <a:gd name="T38" fmla="*/ 45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5" y="112"/>
                    </a:moveTo>
                    <a:cubicBezTo>
                      <a:pt x="48" y="112"/>
                      <a:pt x="50" y="112"/>
                      <a:pt x="53" y="111"/>
                    </a:cubicBezTo>
                    <a:cubicBezTo>
                      <a:pt x="55" y="111"/>
                      <a:pt x="57" y="110"/>
                      <a:pt x="59" y="110"/>
                    </a:cubicBezTo>
                    <a:cubicBezTo>
                      <a:pt x="59" y="122"/>
                      <a:pt x="59" y="122"/>
                      <a:pt x="59" y="122"/>
                    </a:cubicBezTo>
                    <a:cubicBezTo>
                      <a:pt x="57" y="122"/>
                      <a:pt x="55" y="123"/>
                      <a:pt x="51" y="124"/>
                    </a:cubicBezTo>
                    <a:cubicBezTo>
                      <a:pt x="48" y="124"/>
                      <a:pt x="45" y="124"/>
                      <a:pt x="43" y="124"/>
                    </a:cubicBezTo>
                    <a:cubicBezTo>
                      <a:pt x="24"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0" y="0"/>
                      <a:pt x="20" y="0"/>
                      <a:pt x="20" y="0"/>
                    </a:cubicBezTo>
                    <a:cubicBezTo>
                      <a:pt x="29" y="0"/>
                      <a:pt x="29" y="0"/>
                      <a:pt x="29" y="0"/>
                    </a:cubicBezTo>
                    <a:cubicBezTo>
                      <a:pt x="29" y="23"/>
                      <a:pt x="29" y="23"/>
                      <a:pt x="29" y="23"/>
                    </a:cubicBezTo>
                    <a:cubicBezTo>
                      <a:pt x="58" y="23"/>
                      <a:pt x="58" y="23"/>
                      <a:pt x="58" y="23"/>
                    </a:cubicBezTo>
                    <a:cubicBezTo>
                      <a:pt x="58" y="35"/>
                      <a:pt x="58" y="35"/>
                      <a:pt x="58" y="35"/>
                    </a:cubicBezTo>
                    <a:cubicBezTo>
                      <a:pt x="29" y="35"/>
                      <a:pt x="29" y="35"/>
                      <a:pt x="29" y="35"/>
                    </a:cubicBezTo>
                    <a:cubicBezTo>
                      <a:pt x="29" y="93"/>
                      <a:pt x="29" y="93"/>
                      <a:pt x="29" y="93"/>
                    </a:cubicBezTo>
                    <a:cubicBezTo>
                      <a:pt x="29" y="99"/>
                      <a:pt x="31" y="104"/>
                      <a:pt x="33" y="107"/>
                    </a:cubicBezTo>
                    <a:cubicBezTo>
                      <a:pt x="36" y="110"/>
                      <a:pt x="40" y="112"/>
                      <a:pt x="45"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816"/>
              <p:cNvSpPr>
                <a:spLocks/>
              </p:cNvSpPr>
              <p:nvPr/>
            </p:nvSpPr>
            <p:spPr bwMode="auto">
              <a:xfrm>
                <a:off x="4700609" y="4122869"/>
                <a:ext cx="81242"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4 w 59"/>
                  <a:gd name="T11" fmla="*/ 124 h 124"/>
                  <a:gd name="T12" fmla="*/ 15 w 59"/>
                  <a:gd name="T13" fmla="*/ 94 h 124"/>
                  <a:gd name="T14" fmla="*/ 15 w 59"/>
                  <a:gd name="T15" fmla="*/ 35 h 124"/>
                  <a:gd name="T16" fmla="*/ 0 w 59"/>
                  <a:gd name="T17" fmla="*/ 35 h 124"/>
                  <a:gd name="T18" fmla="*/ 0 w 59"/>
                  <a:gd name="T19" fmla="*/ 27 h 124"/>
                  <a:gd name="T20" fmla="*/ 15 w 59"/>
                  <a:gd name="T21" fmla="*/ 21 h 124"/>
                  <a:gd name="T22" fmla="*/ 21 w 59"/>
                  <a:gd name="T23" fmla="*/ 0 h 124"/>
                  <a:gd name="T24" fmla="*/ 30 w 59"/>
                  <a:gd name="T25" fmla="*/ 0 h 124"/>
                  <a:gd name="T26" fmla="*/ 30 w 59"/>
                  <a:gd name="T27" fmla="*/ 23 h 124"/>
                  <a:gd name="T28" fmla="*/ 59 w 59"/>
                  <a:gd name="T29" fmla="*/ 23 h 124"/>
                  <a:gd name="T30" fmla="*/ 59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4" y="124"/>
                    </a:cubicBezTo>
                    <a:cubicBezTo>
                      <a:pt x="24" y="124"/>
                      <a:pt x="15" y="114"/>
                      <a:pt x="15" y="94"/>
                    </a:cubicBezTo>
                    <a:cubicBezTo>
                      <a:pt x="15" y="35"/>
                      <a:pt x="15" y="35"/>
                      <a:pt x="15" y="35"/>
                    </a:cubicBezTo>
                    <a:cubicBezTo>
                      <a:pt x="0" y="35"/>
                      <a:pt x="0" y="35"/>
                      <a:pt x="0" y="35"/>
                    </a:cubicBezTo>
                    <a:cubicBezTo>
                      <a:pt x="0" y="27"/>
                      <a:pt x="0" y="27"/>
                      <a:pt x="0" y="27"/>
                    </a:cubicBezTo>
                    <a:cubicBezTo>
                      <a:pt x="15" y="21"/>
                      <a:pt x="15" y="21"/>
                      <a:pt x="15" y="21"/>
                    </a:cubicBezTo>
                    <a:cubicBezTo>
                      <a:pt x="21" y="0"/>
                      <a:pt x="21" y="0"/>
                      <a:pt x="21" y="0"/>
                    </a:cubicBezTo>
                    <a:cubicBezTo>
                      <a:pt x="30" y="0"/>
                      <a:pt x="30" y="0"/>
                      <a:pt x="30" y="0"/>
                    </a:cubicBezTo>
                    <a:cubicBezTo>
                      <a:pt x="30" y="23"/>
                      <a:pt x="30" y="23"/>
                      <a:pt x="30" y="23"/>
                    </a:cubicBezTo>
                    <a:cubicBezTo>
                      <a:pt x="59" y="23"/>
                      <a:pt x="59" y="23"/>
                      <a:pt x="59" y="23"/>
                    </a:cubicBezTo>
                    <a:cubicBezTo>
                      <a:pt x="59" y="35"/>
                      <a:pt x="59" y="35"/>
                      <a:pt x="59"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817"/>
              <p:cNvSpPr>
                <a:spLocks/>
              </p:cNvSpPr>
              <p:nvPr/>
            </p:nvSpPr>
            <p:spPr bwMode="auto">
              <a:xfrm>
                <a:off x="4803759" y="4096397"/>
                <a:ext cx="115017" cy="195346"/>
              </a:xfrm>
              <a:custGeom>
                <a:avLst/>
                <a:gdLst>
                  <a:gd name="T0" fmla="*/ 68 w 83"/>
                  <a:gd name="T1" fmla="*/ 141 h 141"/>
                  <a:gd name="T2" fmla="*/ 68 w 83"/>
                  <a:gd name="T3" fmla="*/ 77 h 141"/>
                  <a:gd name="T4" fmla="*/ 62 w 83"/>
                  <a:gd name="T5" fmla="*/ 59 h 141"/>
                  <a:gd name="T6" fmla="*/ 45 w 83"/>
                  <a:gd name="T7" fmla="*/ 53 h 141"/>
                  <a:gd name="T8" fmla="*/ 22 w 83"/>
                  <a:gd name="T9" fmla="*/ 61 h 141"/>
                  <a:gd name="T10" fmla="*/ 15 w 83"/>
                  <a:gd name="T11" fmla="*/ 89 h 141"/>
                  <a:gd name="T12" fmla="*/ 15 w 83"/>
                  <a:gd name="T13" fmla="*/ 141 h 141"/>
                  <a:gd name="T14" fmla="*/ 0 w 83"/>
                  <a:gd name="T15" fmla="*/ 141 h 141"/>
                  <a:gd name="T16" fmla="*/ 0 w 83"/>
                  <a:gd name="T17" fmla="*/ 0 h 141"/>
                  <a:gd name="T18" fmla="*/ 15 w 83"/>
                  <a:gd name="T19" fmla="*/ 0 h 141"/>
                  <a:gd name="T20" fmla="*/ 15 w 83"/>
                  <a:gd name="T21" fmla="*/ 43 h 141"/>
                  <a:gd name="T22" fmla="*/ 14 w 83"/>
                  <a:gd name="T23" fmla="*/ 56 h 141"/>
                  <a:gd name="T24" fmla="*/ 15 w 83"/>
                  <a:gd name="T25" fmla="*/ 56 h 141"/>
                  <a:gd name="T26" fmla="*/ 27 w 83"/>
                  <a:gd name="T27" fmla="*/ 44 h 141"/>
                  <a:gd name="T28" fmla="*/ 46 w 83"/>
                  <a:gd name="T29" fmla="*/ 40 h 141"/>
                  <a:gd name="T30" fmla="*/ 74 w 83"/>
                  <a:gd name="T31" fmla="*/ 49 h 141"/>
                  <a:gd name="T32" fmla="*/ 83 w 83"/>
                  <a:gd name="T33" fmla="*/ 77 h 141"/>
                  <a:gd name="T34" fmla="*/ 83 w 83"/>
                  <a:gd name="T35" fmla="*/ 141 h 141"/>
                  <a:gd name="T36" fmla="*/ 68 w 83"/>
                  <a:gd name="T3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1">
                    <a:moveTo>
                      <a:pt x="68" y="141"/>
                    </a:moveTo>
                    <a:cubicBezTo>
                      <a:pt x="68" y="77"/>
                      <a:pt x="68" y="77"/>
                      <a:pt x="68" y="77"/>
                    </a:cubicBezTo>
                    <a:cubicBezTo>
                      <a:pt x="68" y="69"/>
                      <a:pt x="66" y="63"/>
                      <a:pt x="62" y="59"/>
                    </a:cubicBezTo>
                    <a:cubicBezTo>
                      <a:pt x="58" y="55"/>
                      <a:pt x="53" y="53"/>
                      <a:pt x="45" y="53"/>
                    </a:cubicBezTo>
                    <a:cubicBezTo>
                      <a:pt x="34" y="53"/>
                      <a:pt x="27" y="56"/>
                      <a:pt x="22" y="61"/>
                    </a:cubicBezTo>
                    <a:cubicBezTo>
                      <a:pt x="17" y="67"/>
                      <a:pt x="15" y="76"/>
                      <a:pt x="15" y="89"/>
                    </a:cubicBezTo>
                    <a:cubicBezTo>
                      <a:pt x="15" y="141"/>
                      <a:pt x="15" y="141"/>
                      <a:pt x="15" y="141"/>
                    </a:cubicBezTo>
                    <a:cubicBezTo>
                      <a:pt x="0" y="141"/>
                      <a:pt x="0" y="141"/>
                      <a:pt x="0" y="141"/>
                    </a:cubicBezTo>
                    <a:cubicBezTo>
                      <a:pt x="0" y="0"/>
                      <a:pt x="0" y="0"/>
                      <a:pt x="0" y="0"/>
                    </a:cubicBezTo>
                    <a:cubicBezTo>
                      <a:pt x="15" y="0"/>
                      <a:pt x="15" y="0"/>
                      <a:pt x="15" y="0"/>
                    </a:cubicBezTo>
                    <a:cubicBezTo>
                      <a:pt x="15" y="43"/>
                      <a:pt x="15" y="43"/>
                      <a:pt x="15" y="43"/>
                    </a:cubicBezTo>
                    <a:cubicBezTo>
                      <a:pt x="15" y="48"/>
                      <a:pt x="14" y="52"/>
                      <a:pt x="14" y="56"/>
                    </a:cubicBezTo>
                    <a:cubicBezTo>
                      <a:pt x="15" y="56"/>
                      <a:pt x="15" y="56"/>
                      <a:pt x="15" y="56"/>
                    </a:cubicBezTo>
                    <a:cubicBezTo>
                      <a:pt x="18" y="51"/>
                      <a:pt x="22" y="47"/>
                      <a:pt x="27" y="44"/>
                    </a:cubicBezTo>
                    <a:cubicBezTo>
                      <a:pt x="33" y="42"/>
                      <a:pt x="39" y="40"/>
                      <a:pt x="46" y="40"/>
                    </a:cubicBezTo>
                    <a:cubicBezTo>
                      <a:pt x="58" y="40"/>
                      <a:pt x="67" y="43"/>
                      <a:pt x="74" y="49"/>
                    </a:cubicBezTo>
                    <a:cubicBezTo>
                      <a:pt x="80" y="55"/>
                      <a:pt x="83" y="64"/>
                      <a:pt x="83" y="77"/>
                    </a:cubicBezTo>
                    <a:cubicBezTo>
                      <a:pt x="83" y="141"/>
                      <a:pt x="83" y="141"/>
                      <a:pt x="83" y="141"/>
                    </a:cubicBezTo>
                    <a:lnTo>
                      <a:pt x="6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18"/>
              <p:cNvSpPr>
                <a:spLocks noEditPoints="1"/>
              </p:cNvSpPr>
              <p:nvPr/>
            </p:nvSpPr>
            <p:spPr bwMode="auto">
              <a:xfrm>
                <a:off x="4945247" y="4152080"/>
                <a:ext cx="109540" cy="142401"/>
              </a:xfrm>
              <a:custGeom>
                <a:avLst/>
                <a:gdLst>
                  <a:gd name="T0" fmla="*/ 68 w 79"/>
                  <a:gd name="T1" fmla="*/ 101 h 103"/>
                  <a:gd name="T2" fmla="*/ 65 w 79"/>
                  <a:gd name="T3" fmla="*/ 87 h 103"/>
                  <a:gd name="T4" fmla="*/ 64 w 79"/>
                  <a:gd name="T5" fmla="*/ 87 h 103"/>
                  <a:gd name="T6" fmla="*/ 50 w 79"/>
                  <a:gd name="T7" fmla="*/ 100 h 103"/>
                  <a:gd name="T8" fmla="*/ 31 w 79"/>
                  <a:gd name="T9" fmla="*/ 103 h 103"/>
                  <a:gd name="T10" fmla="*/ 8 w 79"/>
                  <a:gd name="T11" fmla="*/ 96 h 103"/>
                  <a:gd name="T12" fmla="*/ 0 w 79"/>
                  <a:gd name="T13" fmla="*/ 74 h 103"/>
                  <a:gd name="T14" fmla="*/ 48 w 79"/>
                  <a:gd name="T15" fmla="*/ 42 h 103"/>
                  <a:gd name="T16" fmla="*/ 65 w 79"/>
                  <a:gd name="T17" fmla="*/ 42 h 103"/>
                  <a:gd name="T18" fmla="*/ 65 w 79"/>
                  <a:gd name="T19" fmla="*/ 36 h 103"/>
                  <a:gd name="T20" fmla="*/ 60 w 79"/>
                  <a:gd name="T21" fmla="*/ 18 h 103"/>
                  <a:gd name="T22" fmla="*/ 43 w 79"/>
                  <a:gd name="T23" fmla="*/ 13 h 103"/>
                  <a:gd name="T24" fmla="*/ 15 w 79"/>
                  <a:gd name="T25" fmla="*/ 20 h 103"/>
                  <a:gd name="T26" fmla="*/ 11 w 79"/>
                  <a:gd name="T27" fmla="*/ 9 h 103"/>
                  <a:gd name="T28" fmla="*/ 27 w 79"/>
                  <a:gd name="T29" fmla="*/ 3 h 103"/>
                  <a:gd name="T30" fmla="*/ 44 w 79"/>
                  <a:gd name="T31" fmla="*/ 0 h 103"/>
                  <a:gd name="T32" fmla="*/ 71 w 79"/>
                  <a:gd name="T33" fmla="*/ 8 h 103"/>
                  <a:gd name="T34" fmla="*/ 79 w 79"/>
                  <a:gd name="T35" fmla="*/ 34 h 103"/>
                  <a:gd name="T36" fmla="*/ 79 w 79"/>
                  <a:gd name="T37" fmla="*/ 101 h 103"/>
                  <a:gd name="T38" fmla="*/ 68 w 79"/>
                  <a:gd name="T39" fmla="*/ 101 h 103"/>
                  <a:gd name="T40" fmla="*/ 34 w 79"/>
                  <a:gd name="T41" fmla="*/ 91 h 103"/>
                  <a:gd name="T42" fmla="*/ 56 w 79"/>
                  <a:gd name="T43" fmla="*/ 83 h 103"/>
                  <a:gd name="T44" fmla="*/ 64 w 79"/>
                  <a:gd name="T45" fmla="*/ 62 h 103"/>
                  <a:gd name="T46" fmla="*/ 64 w 79"/>
                  <a:gd name="T47" fmla="*/ 53 h 103"/>
                  <a:gd name="T48" fmla="*/ 49 w 79"/>
                  <a:gd name="T49" fmla="*/ 53 h 103"/>
                  <a:gd name="T50" fmla="*/ 23 w 79"/>
                  <a:gd name="T51" fmla="*/ 59 h 103"/>
                  <a:gd name="T52" fmla="*/ 15 w 79"/>
                  <a:gd name="T53" fmla="*/ 74 h 103"/>
                  <a:gd name="T54" fmla="*/ 20 w 79"/>
                  <a:gd name="T55" fmla="*/ 87 h 103"/>
                  <a:gd name="T56" fmla="*/ 34 w 79"/>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103">
                    <a:moveTo>
                      <a:pt x="68" y="101"/>
                    </a:moveTo>
                    <a:cubicBezTo>
                      <a:pt x="65" y="87"/>
                      <a:pt x="65" y="87"/>
                      <a:pt x="65" y="87"/>
                    </a:cubicBezTo>
                    <a:cubicBezTo>
                      <a:pt x="64" y="87"/>
                      <a:pt x="64" y="87"/>
                      <a:pt x="64" y="87"/>
                    </a:cubicBezTo>
                    <a:cubicBezTo>
                      <a:pt x="60" y="94"/>
                      <a:pt x="55" y="98"/>
                      <a:pt x="50" y="100"/>
                    </a:cubicBezTo>
                    <a:cubicBezTo>
                      <a:pt x="45" y="102"/>
                      <a:pt x="39" y="103"/>
                      <a:pt x="31" y="103"/>
                    </a:cubicBezTo>
                    <a:cubicBezTo>
                      <a:pt x="21" y="103"/>
                      <a:pt x="14" y="101"/>
                      <a:pt x="8" y="96"/>
                    </a:cubicBezTo>
                    <a:cubicBezTo>
                      <a:pt x="2"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6" y="15"/>
                      <a:pt x="51" y="13"/>
                      <a:pt x="43" y="13"/>
                    </a:cubicBezTo>
                    <a:cubicBezTo>
                      <a:pt x="35" y="13"/>
                      <a:pt x="26" y="15"/>
                      <a:pt x="15" y="20"/>
                    </a:cubicBezTo>
                    <a:cubicBezTo>
                      <a:pt x="11" y="9"/>
                      <a:pt x="11" y="9"/>
                      <a:pt x="11" y="9"/>
                    </a:cubicBezTo>
                    <a:cubicBezTo>
                      <a:pt x="16" y="6"/>
                      <a:pt x="21" y="4"/>
                      <a:pt x="27" y="3"/>
                    </a:cubicBezTo>
                    <a:cubicBezTo>
                      <a:pt x="33" y="1"/>
                      <a:pt x="39" y="0"/>
                      <a:pt x="44" y="0"/>
                    </a:cubicBezTo>
                    <a:cubicBezTo>
                      <a:pt x="56" y="0"/>
                      <a:pt x="65" y="3"/>
                      <a:pt x="71" y="8"/>
                    </a:cubicBezTo>
                    <a:cubicBezTo>
                      <a:pt x="76" y="13"/>
                      <a:pt x="79" y="22"/>
                      <a:pt x="79" y="34"/>
                    </a:cubicBezTo>
                    <a:cubicBezTo>
                      <a:pt x="79" y="101"/>
                      <a:pt x="79" y="101"/>
                      <a:pt x="79" y="101"/>
                    </a:cubicBezTo>
                    <a:lnTo>
                      <a:pt x="68" y="101"/>
                    </a:lnTo>
                    <a:close/>
                    <a:moveTo>
                      <a:pt x="34" y="91"/>
                    </a:moveTo>
                    <a:cubicBezTo>
                      <a:pt x="44" y="91"/>
                      <a:pt x="51" y="88"/>
                      <a:pt x="56" y="83"/>
                    </a:cubicBezTo>
                    <a:cubicBezTo>
                      <a:pt x="62" y="78"/>
                      <a:pt x="64" y="71"/>
                      <a:pt x="64" y="62"/>
                    </a:cubicBezTo>
                    <a:cubicBezTo>
                      <a:pt x="64" y="53"/>
                      <a:pt x="64" y="53"/>
                      <a:pt x="64" y="53"/>
                    </a:cubicBezTo>
                    <a:cubicBezTo>
                      <a:pt x="49" y="53"/>
                      <a:pt x="49" y="53"/>
                      <a:pt x="49" y="53"/>
                    </a:cubicBezTo>
                    <a:cubicBezTo>
                      <a:pt x="37" y="54"/>
                      <a:pt x="29" y="55"/>
                      <a:pt x="23" y="59"/>
                    </a:cubicBezTo>
                    <a:cubicBezTo>
                      <a:pt x="18" y="62"/>
                      <a:pt x="15" y="67"/>
                      <a:pt x="15" y="74"/>
                    </a:cubicBezTo>
                    <a:cubicBezTo>
                      <a:pt x="15" y="80"/>
                      <a:pt x="17" y="84"/>
                      <a:pt x="20" y="87"/>
                    </a:cubicBezTo>
                    <a:cubicBezTo>
                      <a:pt x="24" y="89"/>
                      <a:pt x="28" y="91"/>
                      <a:pt x="34"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819"/>
              <p:cNvSpPr>
                <a:spLocks/>
              </p:cNvSpPr>
              <p:nvPr/>
            </p:nvSpPr>
            <p:spPr bwMode="auto">
              <a:xfrm>
                <a:off x="5073956" y="4122869"/>
                <a:ext cx="82155" cy="171612"/>
              </a:xfrm>
              <a:custGeom>
                <a:avLst/>
                <a:gdLst>
                  <a:gd name="T0" fmla="*/ 45 w 59"/>
                  <a:gd name="T1" fmla="*/ 112 h 124"/>
                  <a:gd name="T2" fmla="*/ 53 w 59"/>
                  <a:gd name="T3" fmla="*/ 111 h 124"/>
                  <a:gd name="T4" fmla="*/ 59 w 59"/>
                  <a:gd name="T5" fmla="*/ 110 h 124"/>
                  <a:gd name="T6" fmla="*/ 59 w 59"/>
                  <a:gd name="T7" fmla="*/ 122 h 124"/>
                  <a:gd name="T8" fmla="*/ 51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0 w 59"/>
                  <a:gd name="T23" fmla="*/ 0 h 124"/>
                  <a:gd name="T24" fmla="*/ 29 w 59"/>
                  <a:gd name="T25" fmla="*/ 0 h 124"/>
                  <a:gd name="T26" fmla="*/ 29 w 59"/>
                  <a:gd name="T27" fmla="*/ 23 h 124"/>
                  <a:gd name="T28" fmla="*/ 58 w 59"/>
                  <a:gd name="T29" fmla="*/ 23 h 124"/>
                  <a:gd name="T30" fmla="*/ 58 w 59"/>
                  <a:gd name="T31" fmla="*/ 35 h 124"/>
                  <a:gd name="T32" fmla="*/ 29 w 59"/>
                  <a:gd name="T33" fmla="*/ 35 h 124"/>
                  <a:gd name="T34" fmla="*/ 29 w 59"/>
                  <a:gd name="T35" fmla="*/ 93 h 124"/>
                  <a:gd name="T36" fmla="*/ 33 w 59"/>
                  <a:gd name="T37" fmla="*/ 107 h 124"/>
                  <a:gd name="T38" fmla="*/ 45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5" y="112"/>
                    </a:moveTo>
                    <a:cubicBezTo>
                      <a:pt x="48" y="112"/>
                      <a:pt x="50" y="112"/>
                      <a:pt x="53" y="111"/>
                    </a:cubicBezTo>
                    <a:cubicBezTo>
                      <a:pt x="55" y="111"/>
                      <a:pt x="57" y="110"/>
                      <a:pt x="59" y="110"/>
                    </a:cubicBezTo>
                    <a:cubicBezTo>
                      <a:pt x="59" y="122"/>
                      <a:pt x="59" y="122"/>
                      <a:pt x="59" y="122"/>
                    </a:cubicBezTo>
                    <a:cubicBezTo>
                      <a:pt x="57" y="122"/>
                      <a:pt x="54" y="123"/>
                      <a:pt x="51" y="124"/>
                    </a:cubicBezTo>
                    <a:cubicBezTo>
                      <a:pt x="48" y="124"/>
                      <a:pt x="45" y="124"/>
                      <a:pt x="43" y="124"/>
                    </a:cubicBezTo>
                    <a:cubicBezTo>
                      <a:pt x="23"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0" y="0"/>
                      <a:pt x="20" y="0"/>
                      <a:pt x="20" y="0"/>
                    </a:cubicBezTo>
                    <a:cubicBezTo>
                      <a:pt x="29" y="0"/>
                      <a:pt x="29" y="0"/>
                      <a:pt x="29" y="0"/>
                    </a:cubicBezTo>
                    <a:cubicBezTo>
                      <a:pt x="29" y="23"/>
                      <a:pt x="29" y="23"/>
                      <a:pt x="29" y="23"/>
                    </a:cubicBezTo>
                    <a:cubicBezTo>
                      <a:pt x="58" y="23"/>
                      <a:pt x="58" y="23"/>
                      <a:pt x="58" y="23"/>
                    </a:cubicBezTo>
                    <a:cubicBezTo>
                      <a:pt x="58" y="35"/>
                      <a:pt x="58" y="35"/>
                      <a:pt x="58" y="35"/>
                    </a:cubicBezTo>
                    <a:cubicBezTo>
                      <a:pt x="29" y="35"/>
                      <a:pt x="29" y="35"/>
                      <a:pt x="29" y="35"/>
                    </a:cubicBezTo>
                    <a:cubicBezTo>
                      <a:pt x="29" y="93"/>
                      <a:pt x="29" y="93"/>
                      <a:pt x="29" y="93"/>
                    </a:cubicBezTo>
                    <a:cubicBezTo>
                      <a:pt x="29" y="99"/>
                      <a:pt x="30" y="104"/>
                      <a:pt x="33" y="107"/>
                    </a:cubicBezTo>
                    <a:cubicBezTo>
                      <a:pt x="36" y="110"/>
                      <a:pt x="40" y="112"/>
                      <a:pt x="45"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820"/>
              <p:cNvSpPr>
                <a:spLocks/>
              </p:cNvSpPr>
              <p:nvPr/>
            </p:nvSpPr>
            <p:spPr bwMode="auto">
              <a:xfrm>
                <a:off x="5235527" y="4152080"/>
                <a:ext cx="197171" cy="139663"/>
              </a:xfrm>
              <a:custGeom>
                <a:avLst/>
                <a:gdLst>
                  <a:gd name="T0" fmla="*/ 127 w 142"/>
                  <a:gd name="T1" fmla="*/ 101 h 101"/>
                  <a:gd name="T2" fmla="*/ 127 w 142"/>
                  <a:gd name="T3" fmla="*/ 37 h 101"/>
                  <a:gd name="T4" fmla="*/ 122 w 142"/>
                  <a:gd name="T5" fmla="*/ 19 h 101"/>
                  <a:gd name="T6" fmla="*/ 106 w 142"/>
                  <a:gd name="T7" fmla="*/ 13 h 101"/>
                  <a:gd name="T8" fmla="*/ 86 w 142"/>
                  <a:gd name="T9" fmla="*/ 21 h 101"/>
                  <a:gd name="T10" fmla="*/ 79 w 142"/>
                  <a:gd name="T11" fmla="*/ 46 h 101"/>
                  <a:gd name="T12" fmla="*/ 79 w 142"/>
                  <a:gd name="T13" fmla="*/ 101 h 101"/>
                  <a:gd name="T14" fmla="*/ 64 w 142"/>
                  <a:gd name="T15" fmla="*/ 101 h 101"/>
                  <a:gd name="T16" fmla="*/ 64 w 142"/>
                  <a:gd name="T17" fmla="*/ 37 h 101"/>
                  <a:gd name="T18" fmla="*/ 59 w 142"/>
                  <a:gd name="T19" fmla="*/ 19 h 101"/>
                  <a:gd name="T20" fmla="*/ 43 w 142"/>
                  <a:gd name="T21" fmla="*/ 13 h 101"/>
                  <a:gd name="T22" fmla="*/ 22 w 142"/>
                  <a:gd name="T23" fmla="*/ 21 h 101"/>
                  <a:gd name="T24" fmla="*/ 15 w 142"/>
                  <a:gd name="T25" fmla="*/ 49 h 101"/>
                  <a:gd name="T26" fmla="*/ 15 w 142"/>
                  <a:gd name="T27" fmla="*/ 101 h 101"/>
                  <a:gd name="T28" fmla="*/ 0 w 142"/>
                  <a:gd name="T29" fmla="*/ 101 h 101"/>
                  <a:gd name="T30" fmla="*/ 0 w 142"/>
                  <a:gd name="T31" fmla="*/ 2 h 101"/>
                  <a:gd name="T32" fmla="*/ 13 w 142"/>
                  <a:gd name="T33" fmla="*/ 2 h 101"/>
                  <a:gd name="T34" fmla="*/ 15 w 142"/>
                  <a:gd name="T35" fmla="*/ 16 h 101"/>
                  <a:gd name="T36" fmla="*/ 16 w 142"/>
                  <a:gd name="T37" fmla="*/ 16 h 101"/>
                  <a:gd name="T38" fmla="*/ 28 w 142"/>
                  <a:gd name="T39" fmla="*/ 4 h 101"/>
                  <a:gd name="T40" fmla="*/ 45 w 142"/>
                  <a:gd name="T41" fmla="*/ 0 h 101"/>
                  <a:gd name="T42" fmla="*/ 76 w 142"/>
                  <a:gd name="T43" fmla="*/ 17 h 101"/>
                  <a:gd name="T44" fmla="*/ 76 w 142"/>
                  <a:gd name="T45" fmla="*/ 17 h 101"/>
                  <a:gd name="T46" fmla="*/ 89 w 142"/>
                  <a:gd name="T47" fmla="*/ 5 h 101"/>
                  <a:gd name="T48" fmla="*/ 109 w 142"/>
                  <a:gd name="T49" fmla="*/ 0 h 101"/>
                  <a:gd name="T50" fmla="*/ 134 w 142"/>
                  <a:gd name="T51" fmla="*/ 9 h 101"/>
                  <a:gd name="T52" fmla="*/ 142 w 142"/>
                  <a:gd name="T53" fmla="*/ 37 h 101"/>
                  <a:gd name="T54" fmla="*/ 142 w 142"/>
                  <a:gd name="T55" fmla="*/ 101 h 101"/>
                  <a:gd name="T56" fmla="*/ 127 w 142"/>
                  <a:gd name="T5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101">
                    <a:moveTo>
                      <a:pt x="127" y="101"/>
                    </a:moveTo>
                    <a:cubicBezTo>
                      <a:pt x="127" y="37"/>
                      <a:pt x="127" y="37"/>
                      <a:pt x="127" y="37"/>
                    </a:cubicBezTo>
                    <a:cubicBezTo>
                      <a:pt x="127" y="29"/>
                      <a:pt x="126" y="23"/>
                      <a:pt x="122" y="19"/>
                    </a:cubicBezTo>
                    <a:cubicBezTo>
                      <a:pt x="119" y="15"/>
                      <a:pt x="113" y="13"/>
                      <a:pt x="106" y="13"/>
                    </a:cubicBezTo>
                    <a:cubicBezTo>
                      <a:pt x="97" y="13"/>
                      <a:pt x="90" y="16"/>
                      <a:pt x="86" y="21"/>
                    </a:cubicBezTo>
                    <a:cubicBezTo>
                      <a:pt x="81" y="26"/>
                      <a:pt x="79" y="35"/>
                      <a:pt x="79" y="46"/>
                    </a:cubicBezTo>
                    <a:cubicBezTo>
                      <a:pt x="79" y="101"/>
                      <a:pt x="79" y="101"/>
                      <a:pt x="79" y="101"/>
                    </a:cubicBezTo>
                    <a:cubicBezTo>
                      <a:pt x="64" y="101"/>
                      <a:pt x="64" y="101"/>
                      <a:pt x="64" y="101"/>
                    </a:cubicBezTo>
                    <a:cubicBezTo>
                      <a:pt x="64" y="37"/>
                      <a:pt x="64" y="37"/>
                      <a:pt x="64" y="37"/>
                    </a:cubicBezTo>
                    <a:cubicBezTo>
                      <a:pt x="64" y="29"/>
                      <a:pt x="62" y="23"/>
                      <a:pt x="59" y="19"/>
                    </a:cubicBezTo>
                    <a:cubicBezTo>
                      <a:pt x="55" y="15"/>
                      <a:pt x="50" y="13"/>
                      <a:pt x="43" y="13"/>
                    </a:cubicBezTo>
                    <a:cubicBezTo>
                      <a:pt x="33" y="13"/>
                      <a:pt x="26" y="16"/>
                      <a:pt x="22" y="21"/>
                    </a:cubicBezTo>
                    <a:cubicBezTo>
                      <a:pt x="18" y="27"/>
                      <a:pt x="15" y="36"/>
                      <a:pt x="15" y="49"/>
                    </a:cubicBezTo>
                    <a:cubicBezTo>
                      <a:pt x="15" y="101"/>
                      <a:pt x="15" y="101"/>
                      <a:pt x="15" y="101"/>
                    </a:cubicBezTo>
                    <a:cubicBezTo>
                      <a:pt x="0" y="101"/>
                      <a:pt x="0" y="101"/>
                      <a:pt x="0" y="101"/>
                    </a:cubicBezTo>
                    <a:cubicBezTo>
                      <a:pt x="0" y="2"/>
                      <a:pt x="0" y="2"/>
                      <a:pt x="0" y="2"/>
                    </a:cubicBezTo>
                    <a:cubicBezTo>
                      <a:pt x="13" y="2"/>
                      <a:pt x="13" y="2"/>
                      <a:pt x="13" y="2"/>
                    </a:cubicBezTo>
                    <a:cubicBezTo>
                      <a:pt x="15" y="16"/>
                      <a:pt x="15" y="16"/>
                      <a:pt x="15" y="16"/>
                    </a:cubicBezTo>
                    <a:cubicBezTo>
                      <a:pt x="16" y="16"/>
                      <a:pt x="16" y="16"/>
                      <a:pt x="16" y="16"/>
                    </a:cubicBezTo>
                    <a:cubicBezTo>
                      <a:pt x="19" y="11"/>
                      <a:pt x="23" y="7"/>
                      <a:pt x="28" y="4"/>
                    </a:cubicBezTo>
                    <a:cubicBezTo>
                      <a:pt x="33" y="2"/>
                      <a:pt x="39" y="0"/>
                      <a:pt x="45" y="0"/>
                    </a:cubicBezTo>
                    <a:cubicBezTo>
                      <a:pt x="61" y="0"/>
                      <a:pt x="71" y="6"/>
                      <a:pt x="76" y="17"/>
                    </a:cubicBezTo>
                    <a:cubicBezTo>
                      <a:pt x="76" y="17"/>
                      <a:pt x="76" y="17"/>
                      <a:pt x="76" y="17"/>
                    </a:cubicBezTo>
                    <a:cubicBezTo>
                      <a:pt x="79" y="12"/>
                      <a:pt x="84" y="8"/>
                      <a:pt x="89" y="5"/>
                    </a:cubicBezTo>
                    <a:cubicBezTo>
                      <a:pt x="95" y="2"/>
                      <a:pt x="101" y="0"/>
                      <a:pt x="109" y="0"/>
                    </a:cubicBezTo>
                    <a:cubicBezTo>
                      <a:pt x="120" y="0"/>
                      <a:pt x="128" y="3"/>
                      <a:pt x="134" y="9"/>
                    </a:cubicBezTo>
                    <a:cubicBezTo>
                      <a:pt x="139" y="15"/>
                      <a:pt x="142" y="24"/>
                      <a:pt x="142" y="37"/>
                    </a:cubicBezTo>
                    <a:cubicBezTo>
                      <a:pt x="142" y="101"/>
                      <a:pt x="142" y="101"/>
                      <a:pt x="142" y="101"/>
                    </a:cubicBezTo>
                    <a:lnTo>
                      <a:pt x="12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821"/>
              <p:cNvSpPr>
                <a:spLocks noEditPoints="1"/>
              </p:cNvSpPr>
              <p:nvPr/>
            </p:nvSpPr>
            <p:spPr bwMode="auto">
              <a:xfrm>
                <a:off x="5459171" y="4152080"/>
                <a:ext cx="110452" cy="142401"/>
              </a:xfrm>
              <a:custGeom>
                <a:avLst/>
                <a:gdLst>
                  <a:gd name="T0" fmla="*/ 69 w 80"/>
                  <a:gd name="T1" fmla="*/ 101 h 103"/>
                  <a:gd name="T2" fmla="*/ 66 w 80"/>
                  <a:gd name="T3" fmla="*/ 87 h 103"/>
                  <a:gd name="T4" fmla="*/ 65 w 80"/>
                  <a:gd name="T5" fmla="*/ 87 h 103"/>
                  <a:gd name="T6" fmla="*/ 50 w 80"/>
                  <a:gd name="T7" fmla="*/ 100 h 103"/>
                  <a:gd name="T8" fmla="*/ 32 w 80"/>
                  <a:gd name="T9" fmla="*/ 103 h 103"/>
                  <a:gd name="T10" fmla="*/ 9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0 h 103"/>
                  <a:gd name="T26" fmla="*/ 11 w 80"/>
                  <a:gd name="T27" fmla="*/ 9 h 103"/>
                  <a:gd name="T28" fmla="*/ 28 w 80"/>
                  <a:gd name="T29" fmla="*/ 3 h 103"/>
                  <a:gd name="T30" fmla="*/ 45 w 80"/>
                  <a:gd name="T31" fmla="*/ 0 h 103"/>
                  <a:gd name="T32" fmla="*/ 71 w 80"/>
                  <a:gd name="T33" fmla="*/ 8 h 103"/>
                  <a:gd name="T34" fmla="*/ 80 w 80"/>
                  <a:gd name="T35" fmla="*/ 34 h 103"/>
                  <a:gd name="T36" fmla="*/ 80 w 80"/>
                  <a:gd name="T37" fmla="*/ 101 h 103"/>
                  <a:gd name="T38" fmla="*/ 69 w 80"/>
                  <a:gd name="T39" fmla="*/ 101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1"/>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9"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4" y="22"/>
                      <a:pt x="60" y="18"/>
                    </a:cubicBezTo>
                    <a:cubicBezTo>
                      <a:pt x="57" y="15"/>
                      <a:pt x="52" y="13"/>
                      <a:pt x="44" y="13"/>
                    </a:cubicBezTo>
                    <a:cubicBezTo>
                      <a:pt x="36" y="13"/>
                      <a:pt x="26" y="15"/>
                      <a:pt x="16" y="20"/>
                    </a:cubicBezTo>
                    <a:cubicBezTo>
                      <a:pt x="11" y="9"/>
                      <a:pt x="11" y="9"/>
                      <a:pt x="11" y="9"/>
                    </a:cubicBezTo>
                    <a:cubicBezTo>
                      <a:pt x="16" y="6"/>
                      <a:pt x="22" y="4"/>
                      <a:pt x="28" y="3"/>
                    </a:cubicBezTo>
                    <a:cubicBezTo>
                      <a:pt x="33" y="1"/>
                      <a:pt x="39" y="0"/>
                      <a:pt x="45" y="0"/>
                    </a:cubicBezTo>
                    <a:cubicBezTo>
                      <a:pt x="57" y="0"/>
                      <a:pt x="66" y="3"/>
                      <a:pt x="71" y="8"/>
                    </a:cubicBezTo>
                    <a:cubicBezTo>
                      <a:pt x="77" y="13"/>
                      <a:pt x="80" y="22"/>
                      <a:pt x="80" y="34"/>
                    </a:cubicBezTo>
                    <a:cubicBezTo>
                      <a:pt x="80" y="101"/>
                      <a:pt x="80" y="101"/>
                      <a:pt x="80" y="101"/>
                    </a:cubicBezTo>
                    <a:lnTo>
                      <a:pt x="69" y="101"/>
                    </a:lnTo>
                    <a:close/>
                    <a:moveTo>
                      <a:pt x="35" y="91"/>
                    </a:moveTo>
                    <a:cubicBezTo>
                      <a:pt x="44" y="91"/>
                      <a:pt x="52" y="88"/>
                      <a:pt x="57" y="83"/>
                    </a:cubicBezTo>
                    <a:cubicBezTo>
                      <a:pt x="62" y="78"/>
                      <a:pt x="65" y="71"/>
                      <a:pt x="65" y="62"/>
                    </a:cubicBezTo>
                    <a:cubicBezTo>
                      <a:pt x="65" y="53"/>
                      <a:pt x="65" y="53"/>
                      <a:pt x="65" y="53"/>
                    </a:cubicBezTo>
                    <a:cubicBezTo>
                      <a:pt x="50" y="53"/>
                      <a:pt x="50" y="53"/>
                      <a:pt x="50" y="53"/>
                    </a:cubicBezTo>
                    <a:cubicBezTo>
                      <a:pt x="38" y="54"/>
                      <a:pt x="29" y="55"/>
                      <a:pt x="24" y="59"/>
                    </a:cubicBezTo>
                    <a:cubicBezTo>
                      <a:pt x="19" y="62"/>
                      <a:pt x="16" y="67"/>
                      <a:pt x="16" y="74"/>
                    </a:cubicBezTo>
                    <a:cubicBezTo>
                      <a:pt x="16" y="80"/>
                      <a:pt x="18" y="84"/>
                      <a:pt x="21" y="87"/>
                    </a:cubicBezTo>
                    <a:cubicBezTo>
                      <a:pt x="24" y="89"/>
                      <a:pt x="29" y="91"/>
                      <a:pt x="35" y="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22"/>
              <p:cNvSpPr>
                <a:spLocks/>
              </p:cNvSpPr>
              <p:nvPr/>
            </p:nvSpPr>
            <p:spPr bwMode="auto">
              <a:xfrm>
                <a:off x="5587880" y="4122869"/>
                <a:ext cx="81242"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3 w 59"/>
                  <a:gd name="T11" fmla="*/ 124 h 124"/>
                  <a:gd name="T12" fmla="*/ 15 w 59"/>
                  <a:gd name="T13" fmla="*/ 94 h 124"/>
                  <a:gd name="T14" fmla="*/ 15 w 59"/>
                  <a:gd name="T15" fmla="*/ 35 h 124"/>
                  <a:gd name="T16" fmla="*/ 0 w 59"/>
                  <a:gd name="T17" fmla="*/ 35 h 124"/>
                  <a:gd name="T18" fmla="*/ 0 w 59"/>
                  <a:gd name="T19" fmla="*/ 27 h 124"/>
                  <a:gd name="T20" fmla="*/ 15 w 59"/>
                  <a:gd name="T21" fmla="*/ 21 h 124"/>
                  <a:gd name="T22" fmla="*/ 21 w 59"/>
                  <a:gd name="T23" fmla="*/ 0 h 124"/>
                  <a:gd name="T24" fmla="*/ 30 w 59"/>
                  <a:gd name="T25" fmla="*/ 0 h 124"/>
                  <a:gd name="T26" fmla="*/ 30 w 59"/>
                  <a:gd name="T27" fmla="*/ 23 h 124"/>
                  <a:gd name="T28" fmla="*/ 58 w 59"/>
                  <a:gd name="T29" fmla="*/ 23 h 124"/>
                  <a:gd name="T30" fmla="*/ 58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3" y="124"/>
                    </a:cubicBezTo>
                    <a:cubicBezTo>
                      <a:pt x="24" y="124"/>
                      <a:pt x="15" y="114"/>
                      <a:pt x="15" y="94"/>
                    </a:cubicBezTo>
                    <a:cubicBezTo>
                      <a:pt x="15" y="35"/>
                      <a:pt x="15" y="35"/>
                      <a:pt x="15" y="35"/>
                    </a:cubicBezTo>
                    <a:cubicBezTo>
                      <a:pt x="0" y="35"/>
                      <a:pt x="0" y="35"/>
                      <a:pt x="0" y="35"/>
                    </a:cubicBezTo>
                    <a:cubicBezTo>
                      <a:pt x="0" y="27"/>
                      <a:pt x="0" y="27"/>
                      <a:pt x="0" y="27"/>
                    </a:cubicBezTo>
                    <a:cubicBezTo>
                      <a:pt x="15" y="21"/>
                      <a:pt x="15" y="21"/>
                      <a:pt x="15" y="21"/>
                    </a:cubicBezTo>
                    <a:cubicBezTo>
                      <a:pt x="21" y="0"/>
                      <a:pt x="21" y="0"/>
                      <a:pt x="21" y="0"/>
                    </a:cubicBezTo>
                    <a:cubicBezTo>
                      <a:pt x="30" y="0"/>
                      <a:pt x="30" y="0"/>
                      <a:pt x="30" y="0"/>
                    </a:cubicBezTo>
                    <a:cubicBezTo>
                      <a:pt x="30" y="23"/>
                      <a:pt x="30" y="23"/>
                      <a:pt x="30" y="23"/>
                    </a:cubicBezTo>
                    <a:cubicBezTo>
                      <a:pt x="58" y="23"/>
                      <a:pt x="58" y="23"/>
                      <a:pt x="58" y="23"/>
                    </a:cubicBezTo>
                    <a:cubicBezTo>
                      <a:pt x="58" y="35"/>
                      <a:pt x="58" y="35"/>
                      <a:pt x="58"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23"/>
              <p:cNvSpPr>
                <a:spLocks/>
              </p:cNvSpPr>
              <p:nvPr/>
            </p:nvSpPr>
            <p:spPr bwMode="auto">
              <a:xfrm>
                <a:off x="5671860" y="4122869"/>
                <a:ext cx="82155" cy="171612"/>
              </a:xfrm>
              <a:custGeom>
                <a:avLst/>
                <a:gdLst>
                  <a:gd name="T0" fmla="*/ 46 w 59"/>
                  <a:gd name="T1" fmla="*/ 112 h 124"/>
                  <a:gd name="T2" fmla="*/ 53 w 59"/>
                  <a:gd name="T3" fmla="*/ 111 h 124"/>
                  <a:gd name="T4" fmla="*/ 59 w 59"/>
                  <a:gd name="T5" fmla="*/ 110 h 124"/>
                  <a:gd name="T6" fmla="*/ 59 w 59"/>
                  <a:gd name="T7" fmla="*/ 122 h 124"/>
                  <a:gd name="T8" fmla="*/ 52 w 59"/>
                  <a:gd name="T9" fmla="*/ 124 h 124"/>
                  <a:gd name="T10" fmla="*/ 43 w 59"/>
                  <a:gd name="T11" fmla="*/ 124 h 124"/>
                  <a:gd name="T12" fmla="*/ 14 w 59"/>
                  <a:gd name="T13" fmla="*/ 94 h 124"/>
                  <a:gd name="T14" fmla="*/ 14 w 59"/>
                  <a:gd name="T15" fmla="*/ 35 h 124"/>
                  <a:gd name="T16" fmla="*/ 0 w 59"/>
                  <a:gd name="T17" fmla="*/ 35 h 124"/>
                  <a:gd name="T18" fmla="*/ 0 w 59"/>
                  <a:gd name="T19" fmla="*/ 27 h 124"/>
                  <a:gd name="T20" fmla="*/ 14 w 59"/>
                  <a:gd name="T21" fmla="*/ 21 h 124"/>
                  <a:gd name="T22" fmla="*/ 21 w 59"/>
                  <a:gd name="T23" fmla="*/ 0 h 124"/>
                  <a:gd name="T24" fmla="*/ 30 w 59"/>
                  <a:gd name="T25" fmla="*/ 0 h 124"/>
                  <a:gd name="T26" fmla="*/ 30 w 59"/>
                  <a:gd name="T27" fmla="*/ 23 h 124"/>
                  <a:gd name="T28" fmla="*/ 58 w 59"/>
                  <a:gd name="T29" fmla="*/ 23 h 124"/>
                  <a:gd name="T30" fmla="*/ 58 w 59"/>
                  <a:gd name="T31" fmla="*/ 35 h 124"/>
                  <a:gd name="T32" fmla="*/ 30 w 59"/>
                  <a:gd name="T33" fmla="*/ 35 h 124"/>
                  <a:gd name="T34" fmla="*/ 30 w 59"/>
                  <a:gd name="T35" fmla="*/ 93 h 124"/>
                  <a:gd name="T36" fmla="*/ 34 w 59"/>
                  <a:gd name="T37" fmla="*/ 107 h 124"/>
                  <a:gd name="T38" fmla="*/ 46 w 59"/>
                  <a:gd name="T39"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124">
                    <a:moveTo>
                      <a:pt x="46" y="112"/>
                    </a:moveTo>
                    <a:cubicBezTo>
                      <a:pt x="48" y="112"/>
                      <a:pt x="51" y="112"/>
                      <a:pt x="53" y="111"/>
                    </a:cubicBezTo>
                    <a:cubicBezTo>
                      <a:pt x="56" y="111"/>
                      <a:pt x="58" y="110"/>
                      <a:pt x="59" y="110"/>
                    </a:cubicBezTo>
                    <a:cubicBezTo>
                      <a:pt x="59" y="122"/>
                      <a:pt x="59" y="122"/>
                      <a:pt x="59" y="122"/>
                    </a:cubicBezTo>
                    <a:cubicBezTo>
                      <a:pt x="58" y="122"/>
                      <a:pt x="55" y="123"/>
                      <a:pt x="52" y="124"/>
                    </a:cubicBezTo>
                    <a:cubicBezTo>
                      <a:pt x="49" y="124"/>
                      <a:pt x="46" y="124"/>
                      <a:pt x="43" y="124"/>
                    </a:cubicBezTo>
                    <a:cubicBezTo>
                      <a:pt x="24" y="124"/>
                      <a:pt x="14" y="114"/>
                      <a:pt x="14" y="94"/>
                    </a:cubicBezTo>
                    <a:cubicBezTo>
                      <a:pt x="14" y="35"/>
                      <a:pt x="14" y="35"/>
                      <a:pt x="14" y="35"/>
                    </a:cubicBezTo>
                    <a:cubicBezTo>
                      <a:pt x="0" y="35"/>
                      <a:pt x="0" y="35"/>
                      <a:pt x="0" y="35"/>
                    </a:cubicBezTo>
                    <a:cubicBezTo>
                      <a:pt x="0" y="27"/>
                      <a:pt x="0" y="27"/>
                      <a:pt x="0" y="27"/>
                    </a:cubicBezTo>
                    <a:cubicBezTo>
                      <a:pt x="14" y="21"/>
                      <a:pt x="14" y="21"/>
                      <a:pt x="14" y="21"/>
                    </a:cubicBezTo>
                    <a:cubicBezTo>
                      <a:pt x="21" y="0"/>
                      <a:pt x="21" y="0"/>
                      <a:pt x="21" y="0"/>
                    </a:cubicBezTo>
                    <a:cubicBezTo>
                      <a:pt x="30" y="0"/>
                      <a:pt x="30" y="0"/>
                      <a:pt x="30" y="0"/>
                    </a:cubicBezTo>
                    <a:cubicBezTo>
                      <a:pt x="30" y="23"/>
                      <a:pt x="30" y="23"/>
                      <a:pt x="30" y="23"/>
                    </a:cubicBezTo>
                    <a:cubicBezTo>
                      <a:pt x="58" y="23"/>
                      <a:pt x="58" y="23"/>
                      <a:pt x="58" y="23"/>
                    </a:cubicBezTo>
                    <a:cubicBezTo>
                      <a:pt x="58" y="35"/>
                      <a:pt x="58" y="35"/>
                      <a:pt x="58" y="35"/>
                    </a:cubicBezTo>
                    <a:cubicBezTo>
                      <a:pt x="30" y="35"/>
                      <a:pt x="30" y="35"/>
                      <a:pt x="30" y="35"/>
                    </a:cubicBezTo>
                    <a:cubicBezTo>
                      <a:pt x="30" y="93"/>
                      <a:pt x="30" y="93"/>
                      <a:pt x="30" y="93"/>
                    </a:cubicBezTo>
                    <a:cubicBezTo>
                      <a:pt x="30" y="99"/>
                      <a:pt x="31" y="104"/>
                      <a:pt x="34" y="107"/>
                    </a:cubicBezTo>
                    <a:cubicBezTo>
                      <a:pt x="37" y="110"/>
                      <a:pt x="41" y="112"/>
                      <a:pt x="46"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4"/>
              <p:cNvSpPr>
                <a:spLocks noEditPoints="1"/>
              </p:cNvSpPr>
              <p:nvPr/>
            </p:nvSpPr>
            <p:spPr bwMode="auto">
              <a:xfrm>
                <a:off x="5767707" y="4152080"/>
                <a:ext cx="115929" cy="142401"/>
              </a:xfrm>
              <a:custGeom>
                <a:avLst/>
                <a:gdLst>
                  <a:gd name="T0" fmla="*/ 47 w 84"/>
                  <a:gd name="T1" fmla="*/ 103 h 103"/>
                  <a:gd name="T2" fmla="*/ 13 w 84"/>
                  <a:gd name="T3" fmla="*/ 90 h 103"/>
                  <a:gd name="T4" fmla="*/ 0 w 84"/>
                  <a:gd name="T5" fmla="*/ 53 h 103"/>
                  <a:gd name="T6" fmla="*/ 12 w 84"/>
                  <a:gd name="T7" fmla="*/ 14 h 103"/>
                  <a:gd name="T8" fmla="*/ 44 w 84"/>
                  <a:gd name="T9" fmla="*/ 0 h 103"/>
                  <a:gd name="T10" fmla="*/ 73 w 84"/>
                  <a:gd name="T11" fmla="*/ 12 h 103"/>
                  <a:gd name="T12" fmla="*/ 84 w 84"/>
                  <a:gd name="T13" fmla="*/ 45 h 103"/>
                  <a:gd name="T14" fmla="*/ 84 w 84"/>
                  <a:gd name="T15" fmla="*/ 54 h 103"/>
                  <a:gd name="T16" fmla="*/ 15 w 84"/>
                  <a:gd name="T17" fmla="*/ 54 h 103"/>
                  <a:gd name="T18" fmla="*/ 24 w 84"/>
                  <a:gd name="T19" fmla="*/ 81 h 103"/>
                  <a:gd name="T20" fmla="*/ 48 w 84"/>
                  <a:gd name="T21" fmla="*/ 90 h 103"/>
                  <a:gd name="T22" fmla="*/ 80 w 84"/>
                  <a:gd name="T23" fmla="*/ 83 h 103"/>
                  <a:gd name="T24" fmla="*/ 80 w 84"/>
                  <a:gd name="T25" fmla="*/ 97 h 103"/>
                  <a:gd name="T26" fmla="*/ 65 w 84"/>
                  <a:gd name="T27" fmla="*/ 102 h 103"/>
                  <a:gd name="T28" fmla="*/ 47 w 84"/>
                  <a:gd name="T29" fmla="*/ 103 h 103"/>
                  <a:gd name="T30" fmla="*/ 43 w 84"/>
                  <a:gd name="T31" fmla="*/ 13 h 103"/>
                  <a:gd name="T32" fmla="*/ 24 w 84"/>
                  <a:gd name="T33" fmla="*/ 21 h 103"/>
                  <a:gd name="T34" fmla="*/ 16 w 84"/>
                  <a:gd name="T35" fmla="*/ 42 h 103"/>
                  <a:gd name="T36" fmla="*/ 68 w 84"/>
                  <a:gd name="T37" fmla="*/ 42 h 103"/>
                  <a:gd name="T38" fmla="*/ 61 w 84"/>
                  <a:gd name="T39" fmla="*/ 20 h 103"/>
                  <a:gd name="T40" fmla="*/ 43 w 84"/>
                  <a:gd name="T41"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3">
                    <a:moveTo>
                      <a:pt x="47" y="103"/>
                    </a:moveTo>
                    <a:cubicBezTo>
                      <a:pt x="33" y="103"/>
                      <a:pt x="21" y="99"/>
                      <a:pt x="13" y="90"/>
                    </a:cubicBezTo>
                    <a:cubicBezTo>
                      <a:pt x="4" y="81"/>
                      <a:pt x="0" y="68"/>
                      <a:pt x="0" y="53"/>
                    </a:cubicBezTo>
                    <a:cubicBezTo>
                      <a:pt x="0" y="36"/>
                      <a:pt x="4" y="24"/>
                      <a:pt x="12" y="14"/>
                    </a:cubicBezTo>
                    <a:cubicBezTo>
                      <a:pt x="20" y="5"/>
                      <a:pt x="30" y="0"/>
                      <a:pt x="44" y="0"/>
                    </a:cubicBezTo>
                    <a:cubicBezTo>
                      <a:pt x="56" y="0"/>
                      <a:pt x="66" y="4"/>
                      <a:pt x="73" y="12"/>
                    </a:cubicBezTo>
                    <a:cubicBezTo>
                      <a:pt x="80" y="21"/>
                      <a:pt x="84" y="31"/>
                      <a:pt x="84" y="45"/>
                    </a:cubicBezTo>
                    <a:cubicBezTo>
                      <a:pt x="84" y="54"/>
                      <a:pt x="84" y="54"/>
                      <a:pt x="84" y="54"/>
                    </a:cubicBezTo>
                    <a:cubicBezTo>
                      <a:pt x="15" y="54"/>
                      <a:pt x="15" y="54"/>
                      <a:pt x="15" y="54"/>
                    </a:cubicBezTo>
                    <a:cubicBezTo>
                      <a:pt x="16" y="66"/>
                      <a:pt x="19" y="75"/>
                      <a:pt x="24" y="81"/>
                    </a:cubicBezTo>
                    <a:cubicBezTo>
                      <a:pt x="30" y="87"/>
                      <a:pt x="38" y="90"/>
                      <a:pt x="48" y="90"/>
                    </a:cubicBezTo>
                    <a:cubicBezTo>
                      <a:pt x="59" y="90"/>
                      <a:pt x="69" y="88"/>
                      <a:pt x="80" y="83"/>
                    </a:cubicBezTo>
                    <a:cubicBezTo>
                      <a:pt x="80" y="97"/>
                      <a:pt x="80" y="97"/>
                      <a:pt x="80" y="97"/>
                    </a:cubicBezTo>
                    <a:cubicBezTo>
                      <a:pt x="74" y="99"/>
                      <a:pt x="69" y="101"/>
                      <a:pt x="65" y="102"/>
                    </a:cubicBezTo>
                    <a:cubicBezTo>
                      <a:pt x="60" y="103"/>
                      <a:pt x="54" y="103"/>
                      <a:pt x="47" y="103"/>
                    </a:cubicBezTo>
                    <a:close/>
                    <a:moveTo>
                      <a:pt x="43" y="13"/>
                    </a:moveTo>
                    <a:cubicBezTo>
                      <a:pt x="35" y="13"/>
                      <a:pt x="29" y="15"/>
                      <a:pt x="24" y="21"/>
                    </a:cubicBezTo>
                    <a:cubicBezTo>
                      <a:pt x="19" y="26"/>
                      <a:pt x="17" y="33"/>
                      <a:pt x="16" y="42"/>
                    </a:cubicBezTo>
                    <a:cubicBezTo>
                      <a:pt x="68" y="42"/>
                      <a:pt x="68" y="42"/>
                      <a:pt x="68" y="42"/>
                    </a:cubicBezTo>
                    <a:cubicBezTo>
                      <a:pt x="68" y="33"/>
                      <a:pt x="66" y="25"/>
                      <a:pt x="61" y="20"/>
                    </a:cubicBezTo>
                    <a:cubicBezTo>
                      <a:pt x="57" y="15"/>
                      <a:pt x="51" y="13"/>
                      <a:pt x="43" y="1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25"/>
              <p:cNvSpPr>
                <a:spLocks/>
              </p:cNvSpPr>
              <p:nvPr/>
            </p:nvSpPr>
            <p:spPr bwMode="auto">
              <a:xfrm>
                <a:off x="5912847" y="4152080"/>
                <a:ext cx="78503" cy="139663"/>
              </a:xfrm>
              <a:custGeom>
                <a:avLst/>
                <a:gdLst>
                  <a:gd name="T0" fmla="*/ 45 w 57"/>
                  <a:gd name="T1" fmla="*/ 0 h 101"/>
                  <a:gd name="T2" fmla="*/ 57 w 57"/>
                  <a:gd name="T3" fmla="*/ 1 h 101"/>
                  <a:gd name="T4" fmla="*/ 55 w 57"/>
                  <a:gd name="T5" fmla="*/ 15 h 101"/>
                  <a:gd name="T6" fmla="*/ 44 w 57"/>
                  <a:gd name="T7" fmla="*/ 14 h 101"/>
                  <a:gd name="T8" fmla="*/ 24 w 57"/>
                  <a:gd name="T9" fmla="*/ 24 h 101"/>
                  <a:gd name="T10" fmla="*/ 15 w 57"/>
                  <a:gd name="T11" fmla="*/ 48 h 101"/>
                  <a:gd name="T12" fmla="*/ 15 w 57"/>
                  <a:gd name="T13" fmla="*/ 101 h 101"/>
                  <a:gd name="T14" fmla="*/ 0 w 57"/>
                  <a:gd name="T15" fmla="*/ 101 h 101"/>
                  <a:gd name="T16" fmla="*/ 0 w 57"/>
                  <a:gd name="T17" fmla="*/ 2 h 101"/>
                  <a:gd name="T18" fmla="*/ 12 w 57"/>
                  <a:gd name="T19" fmla="*/ 2 h 101"/>
                  <a:gd name="T20" fmla="*/ 14 w 57"/>
                  <a:gd name="T21" fmla="*/ 20 h 101"/>
                  <a:gd name="T22" fmla="*/ 15 w 57"/>
                  <a:gd name="T23" fmla="*/ 20 h 101"/>
                  <a:gd name="T24" fmla="*/ 28 w 57"/>
                  <a:gd name="T25" fmla="*/ 5 h 101"/>
                  <a:gd name="T26" fmla="*/ 45 w 57"/>
                  <a:gd name="T2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101">
                    <a:moveTo>
                      <a:pt x="45" y="0"/>
                    </a:moveTo>
                    <a:cubicBezTo>
                      <a:pt x="50" y="0"/>
                      <a:pt x="54" y="1"/>
                      <a:pt x="57" y="1"/>
                    </a:cubicBezTo>
                    <a:cubicBezTo>
                      <a:pt x="55" y="15"/>
                      <a:pt x="55" y="15"/>
                      <a:pt x="55" y="15"/>
                    </a:cubicBezTo>
                    <a:cubicBezTo>
                      <a:pt x="51" y="14"/>
                      <a:pt x="47" y="14"/>
                      <a:pt x="44" y="14"/>
                    </a:cubicBezTo>
                    <a:cubicBezTo>
                      <a:pt x="36" y="14"/>
                      <a:pt x="29" y="17"/>
                      <a:pt x="24" y="24"/>
                    </a:cubicBezTo>
                    <a:cubicBezTo>
                      <a:pt x="18" y="30"/>
                      <a:pt x="15" y="38"/>
                      <a:pt x="15" y="48"/>
                    </a:cubicBezTo>
                    <a:cubicBezTo>
                      <a:pt x="15" y="101"/>
                      <a:pt x="15" y="101"/>
                      <a:pt x="15" y="101"/>
                    </a:cubicBezTo>
                    <a:cubicBezTo>
                      <a:pt x="0" y="101"/>
                      <a:pt x="0" y="101"/>
                      <a:pt x="0" y="101"/>
                    </a:cubicBezTo>
                    <a:cubicBezTo>
                      <a:pt x="0" y="2"/>
                      <a:pt x="0" y="2"/>
                      <a:pt x="0" y="2"/>
                    </a:cubicBezTo>
                    <a:cubicBezTo>
                      <a:pt x="12" y="2"/>
                      <a:pt x="12" y="2"/>
                      <a:pt x="12" y="2"/>
                    </a:cubicBezTo>
                    <a:cubicBezTo>
                      <a:pt x="14" y="20"/>
                      <a:pt x="14" y="20"/>
                      <a:pt x="14" y="20"/>
                    </a:cubicBezTo>
                    <a:cubicBezTo>
                      <a:pt x="15" y="20"/>
                      <a:pt x="15" y="20"/>
                      <a:pt x="15" y="20"/>
                    </a:cubicBezTo>
                    <a:cubicBezTo>
                      <a:pt x="19" y="14"/>
                      <a:pt x="23" y="9"/>
                      <a:pt x="28" y="5"/>
                    </a:cubicBezTo>
                    <a:cubicBezTo>
                      <a:pt x="33" y="2"/>
                      <a:pt x="39"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26"/>
              <p:cNvSpPr>
                <a:spLocks/>
              </p:cNvSpPr>
              <p:nvPr/>
            </p:nvSpPr>
            <p:spPr bwMode="auto">
              <a:xfrm>
                <a:off x="6002304" y="4152080"/>
                <a:ext cx="97673" cy="142401"/>
              </a:xfrm>
              <a:custGeom>
                <a:avLst/>
                <a:gdLst>
                  <a:gd name="T0" fmla="*/ 70 w 70"/>
                  <a:gd name="T1" fmla="*/ 74 h 103"/>
                  <a:gd name="T2" fmla="*/ 60 w 70"/>
                  <a:gd name="T3" fmla="*/ 96 h 103"/>
                  <a:gd name="T4" fmla="*/ 31 w 70"/>
                  <a:gd name="T5" fmla="*/ 103 h 103"/>
                  <a:gd name="T6" fmla="*/ 0 w 70"/>
                  <a:gd name="T7" fmla="*/ 97 h 103"/>
                  <a:gd name="T8" fmla="*/ 0 w 70"/>
                  <a:gd name="T9" fmla="*/ 83 h 103"/>
                  <a:gd name="T10" fmla="*/ 16 w 70"/>
                  <a:gd name="T11" fmla="*/ 89 h 103"/>
                  <a:gd name="T12" fmla="*/ 31 w 70"/>
                  <a:gd name="T13" fmla="*/ 91 h 103"/>
                  <a:gd name="T14" fmla="*/ 50 w 70"/>
                  <a:gd name="T15" fmla="*/ 87 h 103"/>
                  <a:gd name="T16" fmla="*/ 56 w 70"/>
                  <a:gd name="T17" fmla="*/ 76 h 103"/>
                  <a:gd name="T18" fmla="*/ 51 w 70"/>
                  <a:gd name="T19" fmla="*/ 66 h 103"/>
                  <a:gd name="T20" fmla="*/ 31 w 70"/>
                  <a:gd name="T21" fmla="*/ 56 h 103"/>
                  <a:gd name="T22" fmla="*/ 11 w 70"/>
                  <a:gd name="T23" fmla="*/ 47 h 103"/>
                  <a:gd name="T24" fmla="*/ 3 w 70"/>
                  <a:gd name="T25" fmla="*/ 38 h 103"/>
                  <a:gd name="T26" fmla="*/ 0 w 70"/>
                  <a:gd name="T27" fmla="*/ 26 h 103"/>
                  <a:gd name="T28" fmla="*/ 10 w 70"/>
                  <a:gd name="T29" fmla="*/ 7 h 103"/>
                  <a:gd name="T30" fmla="*/ 37 w 70"/>
                  <a:gd name="T31" fmla="*/ 0 h 103"/>
                  <a:gd name="T32" fmla="*/ 68 w 70"/>
                  <a:gd name="T33" fmla="*/ 7 h 103"/>
                  <a:gd name="T34" fmla="*/ 63 w 70"/>
                  <a:gd name="T35" fmla="*/ 19 h 103"/>
                  <a:gd name="T36" fmla="*/ 36 w 70"/>
                  <a:gd name="T37" fmla="*/ 13 h 103"/>
                  <a:gd name="T38" fmla="*/ 20 w 70"/>
                  <a:gd name="T39" fmla="*/ 16 h 103"/>
                  <a:gd name="T40" fmla="*/ 14 w 70"/>
                  <a:gd name="T41" fmla="*/ 25 h 103"/>
                  <a:gd name="T42" fmla="*/ 16 w 70"/>
                  <a:gd name="T43" fmla="*/ 32 h 103"/>
                  <a:gd name="T44" fmla="*/ 23 w 70"/>
                  <a:gd name="T45" fmla="*/ 38 h 103"/>
                  <a:gd name="T46" fmla="*/ 40 w 70"/>
                  <a:gd name="T47" fmla="*/ 45 h 103"/>
                  <a:gd name="T48" fmla="*/ 64 w 70"/>
                  <a:gd name="T49" fmla="*/ 58 h 103"/>
                  <a:gd name="T50" fmla="*/ 70 w 70"/>
                  <a:gd name="T51"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103">
                    <a:moveTo>
                      <a:pt x="70" y="74"/>
                    </a:moveTo>
                    <a:cubicBezTo>
                      <a:pt x="70" y="84"/>
                      <a:pt x="67" y="91"/>
                      <a:pt x="60" y="96"/>
                    </a:cubicBezTo>
                    <a:cubicBezTo>
                      <a:pt x="53" y="101"/>
                      <a:pt x="44" y="103"/>
                      <a:pt x="31" y="103"/>
                    </a:cubicBezTo>
                    <a:cubicBezTo>
                      <a:pt x="18" y="103"/>
                      <a:pt x="8" y="101"/>
                      <a:pt x="0" y="97"/>
                    </a:cubicBezTo>
                    <a:cubicBezTo>
                      <a:pt x="0" y="83"/>
                      <a:pt x="0" y="83"/>
                      <a:pt x="0" y="83"/>
                    </a:cubicBezTo>
                    <a:cubicBezTo>
                      <a:pt x="5" y="85"/>
                      <a:pt x="10" y="87"/>
                      <a:pt x="16" y="89"/>
                    </a:cubicBezTo>
                    <a:cubicBezTo>
                      <a:pt x="21" y="90"/>
                      <a:pt x="26" y="91"/>
                      <a:pt x="31" y="91"/>
                    </a:cubicBezTo>
                    <a:cubicBezTo>
                      <a:pt x="39" y="91"/>
                      <a:pt x="45" y="90"/>
                      <a:pt x="50" y="87"/>
                    </a:cubicBezTo>
                    <a:cubicBezTo>
                      <a:pt x="54" y="85"/>
                      <a:pt x="56" y="81"/>
                      <a:pt x="56" y="76"/>
                    </a:cubicBezTo>
                    <a:cubicBezTo>
                      <a:pt x="56" y="72"/>
                      <a:pt x="54" y="68"/>
                      <a:pt x="51" y="66"/>
                    </a:cubicBezTo>
                    <a:cubicBezTo>
                      <a:pt x="48" y="63"/>
                      <a:pt x="41" y="60"/>
                      <a:pt x="31" y="56"/>
                    </a:cubicBezTo>
                    <a:cubicBezTo>
                      <a:pt x="22" y="52"/>
                      <a:pt x="15" y="49"/>
                      <a:pt x="11" y="47"/>
                    </a:cubicBezTo>
                    <a:cubicBezTo>
                      <a:pt x="8" y="44"/>
                      <a:pt x="5" y="41"/>
                      <a:pt x="3" y="38"/>
                    </a:cubicBezTo>
                    <a:cubicBezTo>
                      <a:pt x="1" y="35"/>
                      <a:pt x="0" y="31"/>
                      <a:pt x="0" y="26"/>
                    </a:cubicBezTo>
                    <a:cubicBezTo>
                      <a:pt x="0" y="18"/>
                      <a:pt x="3" y="12"/>
                      <a:pt x="10" y="7"/>
                    </a:cubicBezTo>
                    <a:cubicBezTo>
                      <a:pt x="16" y="2"/>
                      <a:pt x="25" y="0"/>
                      <a:pt x="37" y="0"/>
                    </a:cubicBezTo>
                    <a:cubicBezTo>
                      <a:pt x="48" y="0"/>
                      <a:pt x="58" y="2"/>
                      <a:pt x="68" y="7"/>
                    </a:cubicBezTo>
                    <a:cubicBezTo>
                      <a:pt x="63" y="19"/>
                      <a:pt x="63" y="19"/>
                      <a:pt x="63" y="19"/>
                    </a:cubicBezTo>
                    <a:cubicBezTo>
                      <a:pt x="53" y="15"/>
                      <a:pt x="44" y="13"/>
                      <a:pt x="36" y="13"/>
                    </a:cubicBezTo>
                    <a:cubicBezTo>
                      <a:pt x="29" y="13"/>
                      <a:pt x="23" y="14"/>
                      <a:pt x="20" y="16"/>
                    </a:cubicBezTo>
                    <a:cubicBezTo>
                      <a:pt x="16" y="18"/>
                      <a:pt x="14" y="21"/>
                      <a:pt x="14" y="25"/>
                    </a:cubicBezTo>
                    <a:cubicBezTo>
                      <a:pt x="14" y="28"/>
                      <a:pt x="15" y="30"/>
                      <a:pt x="16" y="32"/>
                    </a:cubicBezTo>
                    <a:cubicBezTo>
                      <a:pt x="18" y="34"/>
                      <a:pt x="20" y="36"/>
                      <a:pt x="23" y="38"/>
                    </a:cubicBezTo>
                    <a:cubicBezTo>
                      <a:pt x="26" y="39"/>
                      <a:pt x="32" y="42"/>
                      <a:pt x="40" y="45"/>
                    </a:cubicBezTo>
                    <a:cubicBezTo>
                      <a:pt x="52" y="49"/>
                      <a:pt x="60" y="54"/>
                      <a:pt x="64" y="58"/>
                    </a:cubicBezTo>
                    <a:cubicBezTo>
                      <a:pt x="68" y="62"/>
                      <a:pt x="70" y="68"/>
                      <a:pt x="70" y="7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27"/>
              <p:cNvSpPr>
                <a:spLocks noEditPoints="1"/>
              </p:cNvSpPr>
              <p:nvPr/>
            </p:nvSpPr>
            <p:spPr bwMode="auto">
              <a:xfrm>
                <a:off x="2627573" y="4425929"/>
                <a:ext cx="168873" cy="188956"/>
              </a:xfrm>
              <a:custGeom>
                <a:avLst/>
                <a:gdLst>
                  <a:gd name="T0" fmla="*/ 122 w 122"/>
                  <a:gd name="T1" fmla="*/ 68 h 136"/>
                  <a:gd name="T2" fmla="*/ 106 w 122"/>
                  <a:gd name="T3" fmla="*/ 118 h 136"/>
                  <a:gd name="T4" fmla="*/ 62 w 122"/>
                  <a:gd name="T5" fmla="*/ 136 h 136"/>
                  <a:gd name="T6" fmla="*/ 16 w 122"/>
                  <a:gd name="T7" fmla="*/ 118 h 136"/>
                  <a:gd name="T8" fmla="*/ 0 w 122"/>
                  <a:gd name="T9" fmla="*/ 68 h 136"/>
                  <a:gd name="T10" fmla="*/ 16 w 122"/>
                  <a:gd name="T11" fmla="*/ 18 h 136"/>
                  <a:gd name="T12" fmla="*/ 62 w 122"/>
                  <a:gd name="T13" fmla="*/ 0 h 136"/>
                  <a:gd name="T14" fmla="*/ 106 w 122"/>
                  <a:gd name="T15" fmla="*/ 18 h 136"/>
                  <a:gd name="T16" fmla="*/ 122 w 122"/>
                  <a:gd name="T17" fmla="*/ 68 h 136"/>
                  <a:gd name="T18" fmla="*/ 17 w 122"/>
                  <a:gd name="T19" fmla="*/ 68 h 136"/>
                  <a:gd name="T20" fmla="*/ 28 w 122"/>
                  <a:gd name="T21" fmla="*/ 109 h 136"/>
                  <a:gd name="T22" fmla="*/ 62 w 122"/>
                  <a:gd name="T23" fmla="*/ 123 h 136"/>
                  <a:gd name="T24" fmla="*/ 95 w 122"/>
                  <a:gd name="T25" fmla="*/ 109 h 136"/>
                  <a:gd name="T26" fmla="*/ 106 w 122"/>
                  <a:gd name="T27" fmla="*/ 68 h 136"/>
                  <a:gd name="T28" fmla="*/ 95 w 122"/>
                  <a:gd name="T29" fmla="*/ 27 h 136"/>
                  <a:gd name="T30" fmla="*/ 62 w 122"/>
                  <a:gd name="T31" fmla="*/ 14 h 136"/>
                  <a:gd name="T32" fmla="*/ 28 w 122"/>
                  <a:gd name="T33" fmla="*/ 28 h 136"/>
                  <a:gd name="T34" fmla="*/ 17 w 122"/>
                  <a:gd name="T35"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36">
                    <a:moveTo>
                      <a:pt x="122" y="68"/>
                    </a:moveTo>
                    <a:cubicBezTo>
                      <a:pt x="122" y="89"/>
                      <a:pt x="117" y="106"/>
                      <a:pt x="106" y="118"/>
                    </a:cubicBezTo>
                    <a:cubicBezTo>
                      <a:pt x="96" y="130"/>
                      <a:pt x="81" y="136"/>
                      <a:pt x="62" y="136"/>
                    </a:cubicBezTo>
                    <a:cubicBezTo>
                      <a:pt x="42" y="136"/>
                      <a:pt x="27" y="130"/>
                      <a:pt x="16" y="118"/>
                    </a:cubicBezTo>
                    <a:cubicBezTo>
                      <a:pt x="6" y="107"/>
                      <a:pt x="0" y="90"/>
                      <a:pt x="0" y="68"/>
                    </a:cubicBezTo>
                    <a:cubicBezTo>
                      <a:pt x="0" y="46"/>
                      <a:pt x="6" y="30"/>
                      <a:pt x="16" y="18"/>
                    </a:cubicBezTo>
                    <a:cubicBezTo>
                      <a:pt x="27" y="6"/>
                      <a:pt x="42" y="0"/>
                      <a:pt x="62" y="0"/>
                    </a:cubicBezTo>
                    <a:cubicBezTo>
                      <a:pt x="81" y="0"/>
                      <a:pt x="96" y="6"/>
                      <a:pt x="106" y="18"/>
                    </a:cubicBezTo>
                    <a:cubicBezTo>
                      <a:pt x="117" y="30"/>
                      <a:pt x="122" y="47"/>
                      <a:pt x="122" y="68"/>
                    </a:cubicBezTo>
                    <a:close/>
                    <a:moveTo>
                      <a:pt x="17" y="68"/>
                    </a:moveTo>
                    <a:cubicBezTo>
                      <a:pt x="17" y="86"/>
                      <a:pt x="21" y="100"/>
                      <a:pt x="28" y="109"/>
                    </a:cubicBezTo>
                    <a:cubicBezTo>
                      <a:pt x="36" y="118"/>
                      <a:pt x="47" y="123"/>
                      <a:pt x="62" y="123"/>
                    </a:cubicBezTo>
                    <a:cubicBezTo>
                      <a:pt x="76" y="123"/>
                      <a:pt x="87" y="118"/>
                      <a:pt x="95" y="109"/>
                    </a:cubicBezTo>
                    <a:cubicBezTo>
                      <a:pt x="102" y="100"/>
                      <a:pt x="106" y="86"/>
                      <a:pt x="106" y="68"/>
                    </a:cubicBezTo>
                    <a:cubicBezTo>
                      <a:pt x="106" y="50"/>
                      <a:pt x="102" y="37"/>
                      <a:pt x="95" y="27"/>
                    </a:cubicBezTo>
                    <a:cubicBezTo>
                      <a:pt x="87" y="18"/>
                      <a:pt x="76" y="14"/>
                      <a:pt x="62" y="14"/>
                    </a:cubicBezTo>
                    <a:cubicBezTo>
                      <a:pt x="47" y="14"/>
                      <a:pt x="36" y="18"/>
                      <a:pt x="28" y="28"/>
                    </a:cubicBezTo>
                    <a:cubicBezTo>
                      <a:pt x="21" y="37"/>
                      <a:pt x="17" y="50"/>
                      <a:pt x="17" y="68"/>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28"/>
              <p:cNvSpPr>
                <a:spLocks/>
              </p:cNvSpPr>
              <p:nvPr/>
            </p:nvSpPr>
            <p:spPr bwMode="auto">
              <a:xfrm>
                <a:off x="2827483" y="4471570"/>
                <a:ext cx="115017" cy="141489"/>
              </a:xfrm>
              <a:custGeom>
                <a:avLst/>
                <a:gdLst>
                  <a:gd name="T0" fmla="*/ 68 w 83"/>
                  <a:gd name="T1" fmla="*/ 102 h 102"/>
                  <a:gd name="T2" fmla="*/ 68 w 83"/>
                  <a:gd name="T3" fmla="*/ 37 h 102"/>
                  <a:gd name="T4" fmla="*/ 63 w 83"/>
                  <a:gd name="T5" fmla="*/ 19 h 102"/>
                  <a:gd name="T6" fmla="*/ 45 w 83"/>
                  <a:gd name="T7" fmla="*/ 13 h 102"/>
                  <a:gd name="T8" fmla="*/ 22 w 83"/>
                  <a:gd name="T9" fmla="*/ 22 h 102"/>
                  <a:gd name="T10" fmla="*/ 15 w 83"/>
                  <a:gd name="T11" fmla="*/ 49 h 102"/>
                  <a:gd name="T12" fmla="*/ 15 w 83"/>
                  <a:gd name="T13" fmla="*/ 102 h 102"/>
                  <a:gd name="T14" fmla="*/ 0 w 83"/>
                  <a:gd name="T15" fmla="*/ 102 h 102"/>
                  <a:gd name="T16" fmla="*/ 0 w 83"/>
                  <a:gd name="T17" fmla="*/ 2 h 102"/>
                  <a:gd name="T18" fmla="*/ 12 w 83"/>
                  <a:gd name="T19" fmla="*/ 2 h 102"/>
                  <a:gd name="T20" fmla="*/ 15 w 83"/>
                  <a:gd name="T21" fmla="*/ 16 h 102"/>
                  <a:gd name="T22" fmla="*/ 16 w 83"/>
                  <a:gd name="T23" fmla="*/ 16 h 102"/>
                  <a:gd name="T24" fmla="*/ 29 w 83"/>
                  <a:gd name="T25" fmla="*/ 4 h 102"/>
                  <a:gd name="T26" fmla="*/ 47 w 83"/>
                  <a:gd name="T27" fmla="*/ 0 h 102"/>
                  <a:gd name="T28" fmla="*/ 74 w 83"/>
                  <a:gd name="T29" fmla="*/ 9 h 102"/>
                  <a:gd name="T30" fmla="*/ 83 w 83"/>
                  <a:gd name="T31" fmla="*/ 37 h 102"/>
                  <a:gd name="T32" fmla="*/ 83 w 83"/>
                  <a:gd name="T33" fmla="*/ 102 h 102"/>
                  <a:gd name="T34" fmla="*/ 68 w 83"/>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2">
                    <a:moveTo>
                      <a:pt x="68" y="102"/>
                    </a:moveTo>
                    <a:cubicBezTo>
                      <a:pt x="68" y="37"/>
                      <a:pt x="68" y="37"/>
                      <a:pt x="68" y="37"/>
                    </a:cubicBezTo>
                    <a:cubicBezTo>
                      <a:pt x="68" y="29"/>
                      <a:pt x="66" y="23"/>
                      <a:pt x="63" y="19"/>
                    </a:cubicBezTo>
                    <a:cubicBezTo>
                      <a:pt x="59" y="15"/>
                      <a:pt x="53" y="13"/>
                      <a:pt x="45" y="13"/>
                    </a:cubicBezTo>
                    <a:cubicBezTo>
                      <a:pt x="35" y="13"/>
                      <a:pt x="27" y="16"/>
                      <a:pt x="22" y="22"/>
                    </a:cubicBezTo>
                    <a:cubicBezTo>
                      <a:pt x="18" y="27"/>
                      <a:pt x="15" y="36"/>
                      <a:pt x="15" y="49"/>
                    </a:cubicBezTo>
                    <a:cubicBezTo>
                      <a:pt x="15" y="102"/>
                      <a:pt x="15" y="102"/>
                      <a:pt x="15" y="102"/>
                    </a:cubicBezTo>
                    <a:cubicBezTo>
                      <a:pt x="0" y="102"/>
                      <a:pt x="0" y="102"/>
                      <a:pt x="0" y="102"/>
                    </a:cubicBezTo>
                    <a:cubicBezTo>
                      <a:pt x="0" y="2"/>
                      <a:pt x="0" y="2"/>
                      <a:pt x="0" y="2"/>
                    </a:cubicBezTo>
                    <a:cubicBezTo>
                      <a:pt x="12" y="2"/>
                      <a:pt x="12" y="2"/>
                      <a:pt x="12" y="2"/>
                    </a:cubicBezTo>
                    <a:cubicBezTo>
                      <a:pt x="15" y="16"/>
                      <a:pt x="15" y="16"/>
                      <a:pt x="15" y="16"/>
                    </a:cubicBezTo>
                    <a:cubicBezTo>
                      <a:pt x="16" y="16"/>
                      <a:pt x="16" y="16"/>
                      <a:pt x="16" y="16"/>
                    </a:cubicBezTo>
                    <a:cubicBezTo>
                      <a:pt x="19" y="11"/>
                      <a:pt x="23" y="7"/>
                      <a:pt x="29" y="4"/>
                    </a:cubicBezTo>
                    <a:cubicBezTo>
                      <a:pt x="34" y="2"/>
                      <a:pt x="40" y="0"/>
                      <a:pt x="47" y="0"/>
                    </a:cubicBezTo>
                    <a:cubicBezTo>
                      <a:pt x="59" y="0"/>
                      <a:pt x="68" y="3"/>
                      <a:pt x="74" y="9"/>
                    </a:cubicBezTo>
                    <a:cubicBezTo>
                      <a:pt x="80" y="15"/>
                      <a:pt x="83" y="24"/>
                      <a:pt x="83" y="37"/>
                    </a:cubicBezTo>
                    <a:cubicBezTo>
                      <a:pt x="83" y="102"/>
                      <a:pt x="83" y="102"/>
                      <a:pt x="83" y="102"/>
                    </a:cubicBezTo>
                    <a:lnTo>
                      <a:pt x="68" y="102"/>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29"/>
              <p:cNvSpPr>
                <a:spLocks noEditPoints="1"/>
              </p:cNvSpPr>
              <p:nvPr/>
            </p:nvSpPr>
            <p:spPr bwMode="auto">
              <a:xfrm>
                <a:off x="2971710" y="4471570"/>
                <a:ext cx="115929" cy="143314"/>
              </a:xfrm>
              <a:custGeom>
                <a:avLst/>
                <a:gdLst>
                  <a:gd name="T0" fmla="*/ 48 w 84"/>
                  <a:gd name="T1" fmla="*/ 103 h 103"/>
                  <a:gd name="T2" fmla="*/ 13 w 84"/>
                  <a:gd name="T3" fmla="*/ 90 h 103"/>
                  <a:gd name="T4" fmla="*/ 0 w 84"/>
                  <a:gd name="T5" fmla="*/ 53 h 103"/>
                  <a:gd name="T6" fmla="*/ 12 w 84"/>
                  <a:gd name="T7" fmla="*/ 14 h 103"/>
                  <a:gd name="T8" fmla="*/ 44 w 84"/>
                  <a:gd name="T9" fmla="*/ 0 h 103"/>
                  <a:gd name="T10" fmla="*/ 73 w 84"/>
                  <a:gd name="T11" fmla="*/ 13 h 103"/>
                  <a:gd name="T12" fmla="*/ 84 w 84"/>
                  <a:gd name="T13" fmla="*/ 45 h 103"/>
                  <a:gd name="T14" fmla="*/ 84 w 84"/>
                  <a:gd name="T15" fmla="*/ 55 h 103"/>
                  <a:gd name="T16" fmla="*/ 16 w 84"/>
                  <a:gd name="T17" fmla="*/ 55 h 103"/>
                  <a:gd name="T18" fmla="*/ 24 w 84"/>
                  <a:gd name="T19" fmla="*/ 81 h 103"/>
                  <a:gd name="T20" fmla="*/ 48 w 84"/>
                  <a:gd name="T21" fmla="*/ 90 h 103"/>
                  <a:gd name="T22" fmla="*/ 80 w 84"/>
                  <a:gd name="T23" fmla="*/ 84 h 103"/>
                  <a:gd name="T24" fmla="*/ 80 w 84"/>
                  <a:gd name="T25" fmla="*/ 97 h 103"/>
                  <a:gd name="T26" fmla="*/ 65 w 84"/>
                  <a:gd name="T27" fmla="*/ 102 h 103"/>
                  <a:gd name="T28" fmla="*/ 48 w 84"/>
                  <a:gd name="T29" fmla="*/ 103 h 103"/>
                  <a:gd name="T30" fmla="*/ 44 w 84"/>
                  <a:gd name="T31" fmla="*/ 13 h 103"/>
                  <a:gd name="T32" fmla="*/ 24 w 84"/>
                  <a:gd name="T33" fmla="*/ 21 h 103"/>
                  <a:gd name="T34" fmla="*/ 16 w 84"/>
                  <a:gd name="T35" fmla="*/ 42 h 103"/>
                  <a:gd name="T36" fmla="*/ 68 w 84"/>
                  <a:gd name="T37" fmla="*/ 42 h 103"/>
                  <a:gd name="T38" fmla="*/ 62 w 84"/>
                  <a:gd name="T39" fmla="*/ 20 h 103"/>
                  <a:gd name="T40" fmla="*/ 44 w 84"/>
                  <a:gd name="T41"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03">
                    <a:moveTo>
                      <a:pt x="48" y="103"/>
                    </a:moveTo>
                    <a:cubicBezTo>
                      <a:pt x="33" y="103"/>
                      <a:pt x="21" y="99"/>
                      <a:pt x="13" y="90"/>
                    </a:cubicBezTo>
                    <a:cubicBezTo>
                      <a:pt x="4" y="81"/>
                      <a:pt x="0" y="69"/>
                      <a:pt x="0" y="53"/>
                    </a:cubicBezTo>
                    <a:cubicBezTo>
                      <a:pt x="0" y="37"/>
                      <a:pt x="4" y="24"/>
                      <a:pt x="12" y="14"/>
                    </a:cubicBezTo>
                    <a:cubicBezTo>
                      <a:pt x="20" y="5"/>
                      <a:pt x="30" y="0"/>
                      <a:pt x="44" y="0"/>
                    </a:cubicBezTo>
                    <a:cubicBezTo>
                      <a:pt x="56" y="0"/>
                      <a:pt x="66" y="4"/>
                      <a:pt x="73" y="13"/>
                    </a:cubicBezTo>
                    <a:cubicBezTo>
                      <a:pt x="81" y="21"/>
                      <a:pt x="84" y="32"/>
                      <a:pt x="84" y="45"/>
                    </a:cubicBezTo>
                    <a:cubicBezTo>
                      <a:pt x="84" y="55"/>
                      <a:pt x="84" y="55"/>
                      <a:pt x="84" y="55"/>
                    </a:cubicBezTo>
                    <a:cubicBezTo>
                      <a:pt x="16" y="55"/>
                      <a:pt x="16" y="55"/>
                      <a:pt x="16" y="55"/>
                    </a:cubicBezTo>
                    <a:cubicBezTo>
                      <a:pt x="16" y="66"/>
                      <a:pt x="19" y="75"/>
                      <a:pt x="24" y="81"/>
                    </a:cubicBezTo>
                    <a:cubicBezTo>
                      <a:pt x="30" y="87"/>
                      <a:pt x="38" y="90"/>
                      <a:pt x="48" y="90"/>
                    </a:cubicBezTo>
                    <a:cubicBezTo>
                      <a:pt x="59" y="90"/>
                      <a:pt x="69" y="88"/>
                      <a:pt x="80" y="84"/>
                    </a:cubicBezTo>
                    <a:cubicBezTo>
                      <a:pt x="80" y="97"/>
                      <a:pt x="80" y="97"/>
                      <a:pt x="80" y="97"/>
                    </a:cubicBezTo>
                    <a:cubicBezTo>
                      <a:pt x="75" y="99"/>
                      <a:pt x="70" y="101"/>
                      <a:pt x="65" y="102"/>
                    </a:cubicBezTo>
                    <a:cubicBezTo>
                      <a:pt x="60" y="103"/>
                      <a:pt x="54" y="103"/>
                      <a:pt x="48" y="103"/>
                    </a:cubicBezTo>
                    <a:close/>
                    <a:moveTo>
                      <a:pt x="44" y="13"/>
                    </a:moveTo>
                    <a:cubicBezTo>
                      <a:pt x="36" y="13"/>
                      <a:pt x="29" y="16"/>
                      <a:pt x="24" y="21"/>
                    </a:cubicBezTo>
                    <a:cubicBezTo>
                      <a:pt x="20" y="26"/>
                      <a:pt x="17" y="33"/>
                      <a:pt x="16" y="42"/>
                    </a:cubicBezTo>
                    <a:cubicBezTo>
                      <a:pt x="68" y="42"/>
                      <a:pt x="68" y="42"/>
                      <a:pt x="68" y="42"/>
                    </a:cubicBezTo>
                    <a:cubicBezTo>
                      <a:pt x="68" y="33"/>
                      <a:pt x="66" y="26"/>
                      <a:pt x="62" y="20"/>
                    </a:cubicBezTo>
                    <a:cubicBezTo>
                      <a:pt x="57" y="15"/>
                      <a:pt x="51" y="13"/>
                      <a:pt x="44" y="13"/>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30"/>
              <p:cNvSpPr>
                <a:spLocks/>
              </p:cNvSpPr>
              <p:nvPr/>
            </p:nvSpPr>
            <p:spPr bwMode="auto">
              <a:xfrm>
                <a:off x="3158840" y="4443273"/>
                <a:ext cx="75765" cy="171612"/>
              </a:xfrm>
              <a:custGeom>
                <a:avLst/>
                <a:gdLst>
                  <a:gd name="T0" fmla="*/ 40 w 55"/>
                  <a:gd name="T1" fmla="*/ 116 h 124"/>
                  <a:gd name="T2" fmla="*/ 55 w 55"/>
                  <a:gd name="T3" fmla="*/ 115 h 124"/>
                  <a:gd name="T4" fmla="*/ 55 w 55"/>
                  <a:gd name="T5" fmla="*/ 122 h 124"/>
                  <a:gd name="T6" fmla="*/ 40 w 55"/>
                  <a:gd name="T7" fmla="*/ 124 h 124"/>
                  <a:gd name="T8" fmla="*/ 21 w 55"/>
                  <a:gd name="T9" fmla="*/ 117 h 124"/>
                  <a:gd name="T10" fmla="*/ 15 w 55"/>
                  <a:gd name="T11" fmla="*/ 95 h 124"/>
                  <a:gd name="T12" fmla="*/ 15 w 55"/>
                  <a:gd name="T13" fmla="*/ 32 h 124"/>
                  <a:gd name="T14" fmla="*/ 0 w 55"/>
                  <a:gd name="T15" fmla="*/ 32 h 124"/>
                  <a:gd name="T16" fmla="*/ 0 w 55"/>
                  <a:gd name="T17" fmla="*/ 26 h 124"/>
                  <a:gd name="T18" fmla="*/ 15 w 55"/>
                  <a:gd name="T19" fmla="*/ 22 h 124"/>
                  <a:gd name="T20" fmla="*/ 19 w 55"/>
                  <a:gd name="T21" fmla="*/ 0 h 124"/>
                  <a:gd name="T22" fmla="*/ 24 w 55"/>
                  <a:gd name="T23" fmla="*/ 0 h 124"/>
                  <a:gd name="T24" fmla="*/ 24 w 55"/>
                  <a:gd name="T25" fmla="*/ 24 h 124"/>
                  <a:gd name="T26" fmla="*/ 53 w 55"/>
                  <a:gd name="T27" fmla="*/ 24 h 124"/>
                  <a:gd name="T28" fmla="*/ 53 w 55"/>
                  <a:gd name="T29" fmla="*/ 32 h 124"/>
                  <a:gd name="T30" fmla="*/ 24 w 55"/>
                  <a:gd name="T31" fmla="*/ 32 h 124"/>
                  <a:gd name="T32" fmla="*/ 24 w 55"/>
                  <a:gd name="T33" fmla="*/ 94 h 124"/>
                  <a:gd name="T34" fmla="*/ 28 w 55"/>
                  <a:gd name="T35" fmla="*/ 111 h 124"/>
                  <a:gd name="T36" fmla="*/ 40 w 55"/>
                  <a:gd name="T3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24">
                    <a:moveTo>
                      <a:pt x="40" y="116"/>
                    </a:moveTo>
                    <a:cubicBezTo>
                      <a:pt x="46" y="116"/>
                      <a:pt x="51" y="116"/>
                      <a:pt x="55" y="115"/>
                    </a:cubicBezTo>
                    <a:cubicBezTo>
                      <a:pt x="55" y="122"/>
                      <a:pt x="55" y="122"/>
                      <a:pt x="55" y="122"/>
                    </a:cubicBezTo>
                    <a:cubicBezTo>
                      <a:pt x="51" y="124"/>
                      <a:pt x="46" y="124"/>
                      <a:pt x="40" y="124"/>
                    </a:cubicBezTo>
                    <a:cubicBezTo>
                      <a:pt x="32" y="124"/>
                      <a:pt x="25" y="122"/>
                      <a:pt x="21" y="117"/>
                    </a:cubicBezTo>
                    <a:cubicBezTo>
                      <a:pt x="17" y="113"/>
                      <a:pt x="15" y="105"/>
                      <a:pt x="15" y="95"/>
                    </a:cubicBezTo>
                    <a:cubicBezTo>
                      <a:pt x="15" y="32"/>
                      <a:pt x="15" y="32"/>
                      <a:pt x="15" y="32"/>
                    </a:cubicBezTo>
                    <a:cubicBezTo>
                      <a:pt x="0" y="32"/>
                      <a:pt x="0" y="32"/>
                      <a:pt x="0" y="32"/>
                    </a:cubicBezTo>
                    <a:cubicBezTo>
                      <a:pt x="0" y="26"/>
                      <a:pt x="0" y="26"/>
                      <a:pt x="0" y="26"/>
                    </a:cubicBezTo>
                    <a:cubicBezTo>
                      <a:pt x="15" y="22"/>
                      <a:pt x="15" y="22"/>
                      <a:pt x="15" y="22"/>
                    </a:cubicBezTo>
                    <a:cubicBezTo>
                      <a:pt x="19" y="0"/>
                      <a:pt x="19" y="0"/>
                      <a:pt x="19" y="0"/>
                    </a:cubicBezTo>
                    <a:cubicBezTo>
                      <a:pt x="24" y="0"/>
                      <a:pt x="24" y="0"/>
                      <a:pt x="24" y="0"/>
                    </a:cubicBezTo>
                    <a:cubicBezTo>
                      <a:pt x="24" y="24"/>
                      <a:pt x="24" y="24"/>
                      <a:pt x="24" y="24"/>
                    </a:cubicBezTo>
                    <a:cubicBezTo>
                      <a:pt x="53" y="24"/>
                      <a:pt x="53" y="24"/>
                      <a:pt x="53" y="24"/>
                    </a:cubicBezTo>
                    <a:cubicBezTo>
                      <a:pt x="53" y="32"/>
                      <a:pt x="53" y="32"/>
                      <a:pt x="53" y="32"/>
                    </a:cubicBezTo>
                    <a:cubicBezTo>
                      <a:pt x="24" y="32"/>
                      <a:pt x="24" y="32"/>
                      <a:pt x="24" y="32"/>
                    </a:cubicBezTo>
                    <a:cubicBezTo>
                      <a:pt x="24" y="94"/>
                      <a:pt x="24" y="94"/>
                      <a:pt x="24" y="94"/>
                    </a:cubicBezTo>
                    <a:cubicBezTo>
                      <a:pt x="24" y="102"/>
                      <a:pt x="25" y="107"/>
                      <a:pt x="28" y="111"/>
                    </a:cubicBezTo>
                    <a:cubicBezTo>
                      <a:pt x="31" y="115"/>
                      <a:pt x="35" y="116"/>
                      <a:pt x="40" y="116"/>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31"/>
              <p:cNvSpPr>
                <a:spLocks noEditPoints="1"/>
              </p:cNvSpPr>
              <p:nvPr/>
            </p:nvSpPr>
            <p:spPr bwMode="auto">
              <a:xfrm>
                <a:off x="3250123" y="4473396"/>
                <a:ext cx="112278" cy="141489"/>
              </a:xfrm>
              <a:custGeom>
                <a:avLst/>
                <a:gdLst>
                  <a:gd name="T0" fmla="*/ 46 w 81"/>
                  <a:gd name="T1" fmla="*/ 102 h 102"/>
                  <a:gd name="T2" fmla="*/ 12 w 81"/>
                  <a:gd name="T3" fmla="*/ 89 h 102"/>
                  <a:gd name="T4" fmla="*/ 0 w 81"/>
                  <a:gd name="T5" fmla="*/ 52 h 102"/>
                  <a:gd name="T6" fmla="*/ 12 w 81"/>
                  <a:gd name="T7" fmla="*/ 14 h 102"/>
                  <a:gd name="T8" fmla="*/ 43 w 81"/>
                  <a:gd name="T9" fmla="*/ 0 h 102"/>
                  <a:gd name="T10" fmla="*/ 71 w 81"/>
                  <a:gd name="T11" fmla="*/ 12 h 102"/>
                  <a:gd name="T12" fmla="*/ 81 w 81"/>
                  <a:gd name="T13" fmla="*/ 45 h 102"/>
                  <a:gd name="T14" fmla="*/ 81 w 81"/>
                  <a:gd name="T15" fmla="*/ 52 h 102"/>
                  <a:gd name="T16" fmla="*/ 10 w 81"/>
                  <a:gd name="T17" fmla="*/ 52 h 102"/>
                  <a:gd name="T18" fmla="*/ 19 w 81"/>
                  <a:gd name="T19" fmla="*/ 84 h 102"/>
                  <a:gd name="T20" fmla="*/ 46 w 81"/>
                  <a:gd name="T21" fmla="*/ 94 h 102"/>
                  <a:gd name="T22" fmla="*/ 61 w 81"/>
                  <a:gd name="T23" fmla="*/ 93 h 102"/>
                  <a:gd name="T24" fmla="*/ 77 w 81"/>
                  <a:gd name="T25" fmla="*/ 88 h 102"/>
                  <a:gd name="T26" fmla="*/ 77 w 81"/>
                  <a:gd name="T27" fmla="*/ 96 h 102"/>
                  <a:gd name="T28" fmla="*/ 62 w 81"/>
                  <a:gd name="T29" fmla="*/ 101 h 102"/>
                  <a:gd name="T30" fmla="*/ 46 w 81"/>
                  <a:gd name="T31" fmla="*/ 102 h 102"/>
                  <a:gd name="T32" fmla="*/ 43 w 81"/>
                  <a:gd name="T33" fmla="*/ 8 h 102"/>
                  <a:gd name="T34" fmla="*/ 20 w 81"/>
                  <a:gd name="T35" fmla="*/ 17 h 102"/>
                  <a:gd name="T36" fmla="*/ 10 w 81"/>
                  <a:gd name="T37" fmla="*/ 44 h 102"/>
                  <a:gd name="T38" fmla="*/ 71 w 81"/>
                  <a:gd name="T39" fmla="*/ 44 h 102"/>
                  <a:gd name="T40" fmla="*/ 64 w 81"/>
                  <a:gd name="T41" fmla="*/ 18 h 102"/>
                  <a:gd name="T42" fmla="*/ 43 w 81"/>
                  <a:gd name="T43" fmla="*/ 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102">
                    <a:moveTo>
                      <a:pt x="46" y="102"/>
                    </a:moveTo>
                    <a:cubicBezTo>
                      <a:pt x="32" y="102"/>
                      <a:pt x="20" y="98"/>
                      <a:pt x="12" y="89"/>
                    </a:cubicBezTo>
                    <a:cubicBezTo>
                      <a:pt x="4" y="80"/>
                      <a:pt x="0" y="68"/>
                      <a:pt x="0" y="52"/>
                    </a:cubicBezTo>
                    <a:cubicBezTo>
                      <a:pt x="0" y="36"/>
                      <a:pt x="4" y="24"/>
                      <a:pt x="12" y="14"/>
                    </a:cubicBezTo>
                    <a:cubicBezTo>
                      <a:pt x="20" y="5"/>
                      <a:pt x="30" y="0"/>
                      <a:pt x="43" y="0"/>
                    </a:cubicBezTo>
                    <a:cubicBezTo>
                      <a:pt x="55" y="0"/>
                      <a:pt x="64" y="4"/>
                      <a:pt x="71" y="12"/>
                    </a:cubicBezTo>
                    <a:cubicBezTo>
                      <a:pt x="77" y="20"/>
                      <a:pt x="81" y="31"/>
                      <a:pt x="81" y="45"/>
                    </a:cubicBezTo>
                    <a:cubicBezTo>
                      <a:pt x="81" y="52"/>
                      <a:pt x="81" y="52"/>
                      <a:pt x="81" y="52"/>
                    </a:cubicBezTo>
                    <a:cubicBezTo>
                      <a:pt x="10" y="52"/>
                      <a:pt x="10" y="52"/>
                      <a:pt x="10" y="52"/>
                    </a:cubicBezTo>
                    <a:cubicBezTo>
                      <a:pt x="10" y="66"/>
                      <a:pt x="13" y="76"/>
                      <a:pt x="19" y="84"/>
                    </a:cubicBezTo>
                    <a:cubicBezTo>
                      <a:pt x="25" y="91"/>
                      <a:pt x="34" y="94"/>
                      <a:pt x="46" y="94"/>
                    </a:cubicBezTo>
                    <a:cubicBezTo>
                      <a:pt x="52" y="94"/>
                      <a:pt x="56" y="94"/>
                      <a:pt x="61" y="93"/>
                    </a:cubicBezTo>
                    <a:cubicBezTo>
                      <a:pt x="65" y="92"/>
                      <a:pt x="70" y="91"/>
                      <a:pt x="77" y="88"/>
                    </a:cubicBezTo>
                    <a:cubicBezTo>
                      <a:pt x="77" y="96"/>
                      <a:pt x="77" y="96"/>
                      <a:pt x="77" y="96"/>
                    </a:cubicBezTo>
                    <a:cubicBezTo>
                      <a:pt x="71" y="99"/>
                      <a:pt x="66" y="100"/>
                      <a:pt x="62" y="101"/>
                    </a:cubicBezTo>
                    <a:cubicBezTo>
                      <a:pt x="57" y="102"/>
                      <a:pt x="52" y="102"/>
                      <a:pt x="46" y="102"/>
                    </a:cubicBezTo>
                    <a:close/>
                    <a:moveTo>
                      <a:pt x="43" y="8"/>
                    </a:moveTo>
                    <a:cubicBezTo>
                      <a:pt x="34" y="8"/>
                      <a:pt x="26" y="11"/>
                      <a:pt x="20" y="17"/>
                    </a:cubicBezTo>
                    <a:cubicBezTo>
                      <a:pt x="15" y="24"/>
                      <a:pt x="11" y="33"/>
                      <a:pt x="10" y="44"/>
                    </a:cubicBezTo>
                    <a:cubicBezTo>
                      <a:pt x="71" y="44"/>
                      <a:pt x="71" y="44"/>
                      <a:pt x="71" y="44"/>
                    </a:cubicBezTo>
                    <a:cubicBezTo>
                      <a:pt x="71" y="33"/>
                      <a:pt x="69" y="24"/>
                      <a:pt x="64" y="18"/>
                    </a:cubicBezTo>
                    <a:cubicBezTo>
                      <a:pt x="59" y="11"/>
                      <a:pt x="52" y="8"/>
                      <a:pt x="43" y="8"/>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832"/>
              <p:cNvSpPr>
                <a:spLocks noEditPoints="1"/>
              </p:cNvSpPr>
              <p:nvPr/>
            </p:nvSpPr>
            <p:spPr bwMode="auto">
              <a:xfrm>
                <a:off x="3382483" y="4473396"/>
                <a:ext cx="103150" cy="141489"/>
              </a:xfrm>
              <a:custGeom>
                <a:avLst/>
                <a:gdLst>
                  <a:gd name="T0" fmla="*/ 67 w 74"/>
                  <a:gd name="T1" fmla="*/ 101 h 102"/>
                  <a:gd name="T2" fmla="*/ 65 w 74"/>
                  <a:gd name="T3" fmla="*/ 85 h 102"/>
                  <a:gd name="T4" fmla="*/ 64 w 74"/>
                  <a:gd name="T5" fmla="*/ 85 h 102"/>
                  <a:gd name="T6" fmla="*/ 49 w 74"/>
                  <a:gd name="T7" fmla="*/ 98 h 102"/>
                  <a:gd name="T8" fmla="*/ 30 w 74"/>
                  <a:gd name="T9" fmla="*/ 102 h 102"/>
                  <a:gd name="T10" fmla="*/ 8 w 74"/>
                  <a:gd name="T11" fmla="*/ 95 h 102"/>
                  <a:gd name="T12" fmla="*/ 0 w 74"/>
                  <a:gd name="T13" fmla="*/ 74 h 102"/>
                  <a:gd name="T14" fmla="*/ 12 w 74"/>
                  <a:gd name="T15" fmla="*/ 52 h 102"/>
                  <a:gd name="T16" fmla="*/ 47 w 74"/>
                  <a:gd name="T17" fmla="*/ 43 h 102"/>
                  <a:gd name="T18" fmla="*/ 65 w 74"/>
                  <a:gd name="T19" fmla="*/ 43 h 102"/>
                  <a:gd name="T20" fmla="*/ 65 w 74"/>
                  <a:gd name="T21" fmla="*/ 36 h 102"/>
                  <a:gd name="T22" fmla="*/ 60 w 74"/>
                  <a:gd name="T23" fmla="*/ 15 h 102"/>
                  <a:gd name="T24" fmla="*/ 41 w 74"/>
                  <a:gd name="T25" fmla="*/ 8 h 102"/>
                  <a:gd name="T26" fmla="*/ 13 w 74"/>
                  <a:gd name="T27" fmla="*/ 16 h 102"/>
                  <a:gd name="T28" fmla="*/ 10 w 74"/>
                  <a:gd name="T29" fmla="*/ 8 h 102"/>
                  <a:gd name="T30" fmla="*/ 42 w 74"/>
                  <a:gd name="T31" fmla="*/ 0 h 102"/>
                  <a:gd name="T32" fmla="*/ 66 w 74"/>
                  <a:gd name="T33" fmla="*/ 9 h 102"/>
                  <a:gd name="T34" fmla="*/ 74 w 74"/>
                  <a:gd name="T35" fmla="*/ 35 h 102"/>
                  <a:gd name="T36" fmla="*/ 74 w 74"/>
                  <a:gd name="T37" fmla="*/ 101 h 102"/>
                  <a:gd name="T38" fmla="*/ 67 w 74"/>
                  <a:gd name="T39" fmla="*/ 101 h 102"/>
                  <a:gd name="T40" fmla="*/ 31 w 74"/>
                  <a:gd name="T41" fmla="*/ 94 h 102"/>
                  <a:gd name="T42" fmla="*/ 56 w 74"/>
                  <a:gd name="T43" fmla="*/ 85 h 102"/>
                  <a:gd name="T44" fmla="*/ 65 w 74"/>
                  <a:gd name="T45" fmla="*/ 60 h 102"/>
                  <a:gd name="T46" fmla="*/ 65 w 74"/>
                  <a:gd name="T47" fmla="*/ 50 h 102"/>
                  <a:gd name="T48" fmla="*/ 48 w 74"/>
                  <a:gd name="T49" fmla="*/ 51 h 102"/>
                  <a:gd name="T50" fmla="*/ 18 w 74"/>
                  <a:gd name="T51" fmla="*/ 58 h 102"/>
                  <a:gd name="T52" fmla="*/ 9 w 74"/>
                  <a:gd name="T53" fmla="*/ 75 h 102"/>
                  <a:gd name="T54" fmla="*/ 15 w 74"/>
                  <a:gd name="T55" fmla="*/ 89 h 102"/>
                  <a:gd name="T56" fmla="*/ 31 w 74"/>
                  <a:gd name="T5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102">
                    <a:moveTo>
                      <a:pt x="67" y="101"/>
                    </a:moveTo>
                    <a:cubicBezTo>
                      <a:pt x="65" y="85"/>
                      <a:pt x="65" y="85"/>
                      <a:pt x="65" y="85"/>
                    </a:cubicBezTo>
                    <a:cubicBezTo>
                      <a:pt x="64" y="85"/>
                      <a:pt x="64" y="85"/>
                      <a:pt x="64" y="85"/>
                    </a:cubicBezTo>
                    <a:cubicBezTo>
                      <a:pt x="59" y="91"/>
                      <a:pt x="54" y="96"/>
                      <a:pt x="49" y="98"/>
                    </a:cubicBezTo>
                    <a:cubicBezTo>
                      <a:pt x="44" y="101"/>
                      <a:pt x="38" y="102"/>
                      <a:pt x="30" y="102"/>
                    </a:cubicBezTo>
                    <a:cubicBezTo>
                      <a:pt x="21" y="102"/>
                      <a:pt x="13" y="100"/>
                      <a:pt x="8" y="95"/>
                    </a:cubicBezTo>
                    <a:cubicBezTo>
                      <a:pt x="2" y="90"/>
                      <a:pt x="0" y="83"/>
                      <a:pt x="0" y="74"/>
                    </a:cubicBezTo>
                    <a:cubicBezTo>
                      <a:pt x="0" y="65"/>
                      <a:pt x="4" y="57"/>
                      <a:pt x="12" y="52"/>
                    </a:cubicBezTo>
                    <a:cubicBezTo>
                      <a:pt x="20" y="47"/>
                      <a:pt x="31" y="44"/>
                      <a:pt x="47" y="43"/>
                    </a:cubicBezTo>
                    <a:cubicBezTo>
                      <a:pt x="65" y="43"/>
                      <a:pt x="65" y="43"/>
                      <a:pt x="65" y="43"/>
                    </a:cubicBezTo>
                    <a:cubicBezTo>
                      <a:pt x="65" y="36"/>
                      <a:pt x="65" y="36"/>
                      <a:pt x="65" y="36"/>
                    </a:cubicBezTo>
                    <a:cubicBezTo>
                      <a:pt x="65" y="27"/>
                      <a:pt x="64" y="20"/>
                      <a:pt x="60" y="15"/>
                    </a:cubicBezTo>
                    <a:cubicBezTo>
                      <a:pt x="56" y="10"/>
                      <a:pt x="50" y="8"/>
                      <a:pt x="41" y="8"/>
                    </a:cubicBezTo>
                    <a:cubicBezTo>
                      <a:pt x="32" y="8"/>
                      <a:pt x="23" y="11"/>
                      <a:pt x="13" y="16"/>
                    </a:cubicBezTo>
                    <a:cubicBezTo>
                      <a:pt x="10" y="8"/>
                      <a:pt x="10" y="8"/>
                      <a:pt x="10" y="8"/>
                    </a:cubicBezTo>
                    <a:cubicBezTo>
                      <a:pt x="20" y="3"/>
                      <a:pt x="31" y="0"/>
                      <a:pt x="42" y="0"/>
                    </a:cubicBezTo>
                    <a:cubicBezTo>
                      <a:pt x="52" y="0"/>
                      <a:pt x="61" y="3"/>
                      <a:pt x="66" y="9"/>
                    </a:cubicBezTo>
                    <a:cubicBezTo>
                      <a:pt x="71" y="14"/>
                      <a:pt x="74" y="23"/>
                      <a:pt x="74" y="35"/>
                    </a:cubicBezTo>
                    <a:cubicBezTo>
                      <a:pt x="74" y="101"/>
                      <a:pt x="74" y="101"/>
                      <a:pt x="74" y="101"/>
                    </a:cubicBezTo>
                    <a:lnTo>
                      <a:pt x="67" y="101"/>
                    </a:lnTo>
                    <a:close/>
                    <a:moveTo>
                      <a:pt x="31" y="94"/>
                    </a:moveTo>
                    <a:cubicBezTo>
                      <a:pt x="42" y="94"/>
                      <a:pt x="50" y="91"/>
                      <a:pt x="56" y="85"/>
                    </a:cubicBezTo>
                    <a:cubicBezTo>
                      <a:pt x="62" y="79"/>
                      <a:pt x="65" y="71"/>
                      <a:pt x="65" y="60"/>
                    </a:cubicBezTo>
                    <a:cubicBezTo>
                      <a:pt x="65" y="50"/>
                      <a:pt x="65" y="50"/>
                      <a:pt x="65" y="50"/>
                    </a:cubicBezTo>
                    <a:cubicBezTo>
                      <a:pt x="48" y="51"/>
                      <a:pt x="48" y="51"/>
                      <a:pt x="48" y="51"/>
                    </a:cubicBezTo>
                    <a:cubicBezTo>
                      <a:pt x="34" y="52"/>
                      <a:pt x="24" y="54"/>
                      <a:pt x="18" y="58"/>
                    </a:cubicBezTo>
                    <a:cubicBezTo>
                      <a:pt x="12" y="61"/>
                      <a:pt x="9" y="67"/>
                      <a:pt x="9" y="75"/>
                    </a:cubicBezTo>
                    <a:cubicBezTo>
                      <a:pt x="9" y="81"/>
                      <a:pt x="11" y="86"/>
                      <a:pt x="15" y="89"/>
                    </a:cubicBezTo>
                    <a:cubicBezTo>
                      <a:pt x="19" y="93"/>
                      <a:pt x="24" y="94"/>
                      <a:pt x="31"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833"/>
              <p:cNvSpPr>
                <a:spLocks/>
              </p:cNvSpPr>
              <p:nvPr/>
            </p:nvSpPr>
            <p:spPr bwMode="auto">
              <a:xfrm>
                <a:off x="3522146" y="4473396"/>
                <a:ext cx="183479" cy="139663"/>
              </a:xfrm>
              <a:custGeom>
                <a:avLst/>
                <a:gdLst>
                  <a:gd name="T0" fmla="*/ 124 w 132"/>
                  <a:gd name="T1" fmla="*/ 101 h 101"/>
                  <a:gd name="T2" fmla="*/ 124 w 132"/>
                  <a:gd name="T3" fmla="*/ 36 h 101"/>
                  <a:gd name="T4" fmla="*/ 118 w 132"/>
                  <a:gd name="T5" fmla="*/ 15 h 101"/>
                  <a:gd name="T6" fmla="*/ 101 w 132"/>
                  <a:gd name="T7" fmla="*/ 8 h 101"/>
                  <a:gd name="T8" fmla="*/ 78 w 132"/>
                  <a:gd name="T9" fmla="*/ 17 h 101"/>
                  <a:gd name="T10" fmla="*/ 71 w 132"/>
                  <a:gd name="T11" fmla="*/ 43 h 101"/>
                  <a:gd name="T12" fmla="*/ 71 w 132"/>
                  <a:gd name="T13" fmla="*/ 101 h 101"/>
                  <a:gd name="T14" fmla="*/ 62 w 132"/>
                  <a:gd name="T15" fmla="*/ 101 h 101"/>
                  <a:gd name="T16" fmla="*/ 62 w 132"/>
                  <a:gd name="T17" fmla="*/ 33 h 101"/>
                  <a:gd name="T18" fmla="*/ 39 w 132"/>
                  <a:gd name="T19" fmla="*/ 8 h 101"/>
                  <a:gd name="T20" fmla="*/ 16 w 132"/>
                  <a:gd name="T21" fmla="*/ 17 h 101"/>
                  <a:gd name="T22" fmla="*/ 9 w 132"/>
                  <a:gd name="T23" fmla="*/ 46 h 101"/>
                  <a:gd name="T24" fmla="*/ 9 w 132"/>
                  <a:gd name="T25" fmla="*/ 101 h 101"/>
                  <a:gd name="T26" fmla="*/ 0 w 132"/>
                  <a:gd name="T27" fmla="*/ 101 h 101"/>
                  <a:gd name="T28" fmla="*/ 0 w 132"/>
                  <a:gd name="T29" fmla="*/ 2 h 101"/>
                  <a:gd name="T30" fmla="*/ 8 w 132"/>
                  <a:gd name="T31" fmla="*/ 2 h 101"/>
                  <a:gd name="T32" fmla="*/ 10 w 132"/>
                  <a:gd name="T33" fmla="*/ 15 h 101"/>
                  <a:gd name="T34" fmla="*/ 10 w 132"/>
                  <a:gd name="T35" fmla="*/ 15 h 101"/>
                  <a:gd name="T36" fmla="*/ 22 w 132"/>
                  <a:gd name="T37" fmla="*/ 4 h 101"/>
                  <a:gd name="T38" fmla="*/ 38 w 132"/>
                  <a:gd name="T39" fmla="*/ 0 h 101"/>
                  <a:gd name="T40" fmla="*/ 68 w 132"/>
                  <a:gd name="T41" fmla="*/ 18 h 101"/>
                  <a:gd name="T42" fmla="*/ 69 w 132"/>
                  <a:gd name="T43" fmla="*/ 18 h 101"/>
                  <a:gd name="T44" fmla="*/ 82 w 132"/>
                  <a:gd name="T45" fmla="*/ 5 h 101"/>
                  <a:gd name="T46" fmla="*/ 100 w 132"/>
                  <a:gd name="T47" fmla="*/ 0 h 101"/>
                  <a:gd name="T48" fmla="*/ 124 w 132"/>
                  <a:gd name="T49" fmla="*/ 9 h 101"/>
                  <a:gd name="T50" fmla="*/ 132 w 132"/>
                  <a:gd name="T51" fmla="*/ 36 h 101"/>
                  <a:gd name="T52" fmla="*/ 132 w 132"/>
                  <a:gd name="T53" fmla="*/ 101 h 101"/>
                  <a:gd name="T54" fmla="*/ 124 w 132"/>
                  <a:gd name="T5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2" h="101">
                    <a:moveTo>
                      <a:pt x="124" y="101"/>
                    </a:moveTo>
                    <a:cubicBezTo>
                      <a:pt x="124" y="36"/>
                      <a:pt x="124" y="36"/>
                      <a:pt x="124" y="36"/>
                    </a:cubicBezTo>
                    <a:cubicBezTo>
                      <a:pt x="124" y="26"/>
                      <a:pt x="122" y="19"/>
                      <a:pt x="118" y="15"/>
                    </a:cubicBezTo>
                    <a:cubicBezTo>
                      <a:pt x="114" y="10"/>
                      <a:pt x="108" y="8"/>
                      <a:pt x="101" y="8"/>
                    </a:cubicBezTo>
                    <a:cubicBezTo>
                      <a:pt x="91" y="8"/>
                      <a:pt x="83" y="11"/>
                      <a:pt x="78" y="17"/>
                    </a:cubicBezTo>
                    <a:cubicBezTo>
                      <a:pt x="73" y="22"/>
                      <a:pt x="71" y="31"/>
                      <a:pt x="71" y="43"/>
                    </a:cubicBezTo>
                    <a:cubicBezTo>
                      <a:pt x="71" y="101"/>
                      <a:pt x="71" y="101"/>
                      <a:pt x="71" y="101"/>
                    </a:cubicBezTo>
                    <a:cubicBezTo>
                      <a:pt x="62" y="101"/>
                      <a:pt x="62" y="101"/>
                      <a:pt x="62" y="101"/>
                    </a:cubicBezTo>
                    <a:cubicBezTo>
                      <a:pt x="62" y="33"/>
                      <a:pt x="62" y="33"/>
                      <a:pt x="62" y="33"/>
                    </a:cubicBezTo>
                    <a:cubicBezTo>
                      <a:pt x="62" y="16"/>
                      <a:pt x="54" y="8"/>
                      <a:pt x="39" y="8"/>
                    </a:cubicBezTo>
                    <a:cubicBezTo>
                      <a:pt x="29" y="8"/>
                      <a:pt x="21" y="11"/>
                      <a:pt x="16" y="17"/>
                    </a:cubicBezTo>
                    <a:cubicBezTo>
                      <a:pt x="12" y="23"/>
                      <a:pt x="9" y="33"/>
                      <a:pt x="9" y="46"/>
                    </a:cubicBezTo>
                    <a:cubicBezTo>
                      <a:pt x="9" y="101"/>
                      <a:pt x="9" y="101"/>
                      <a:pt x="9" y="101"/>
                    </a:cubicBezTo>
                    <a:cubicBezTo>
                      <a:pt x="0" y="101"/>
                      <a:pt x="0" y="101"/>
                      <a:pt x="0" y="101"/>
                    </a:cubicBezTo>
                    <a:cubicBezTo>
                      <a:pt x="0" y="2"/>
                      <a:pt x="0" y="2"/>
                      <a:pt x="0" y="2"/>
                    </a:cubicBezTo>
                    <a:cubicBezTo>
                      <a:pt x="8" y="2"/>
                      <a:pt x="8" y="2"/>
                      <a:pt x="8" y="2"/>
                    </a:cubicBezTo>
                    <a:cubicBezTo>
                      <a:pt x="10" y="15"/>
                      <a:pt x="10" y="15"/>
                      <a:pt x="10" y="15"/>
                    </a:cubicBezTo>
                    <a:cubicBezTo>
                      <a:pt x="10" y="15"/>
                      <a:pt x="10" y="15"/>
                      <a:pt x="10" y="15"/>
                    </a:cubicBezTo>
                    <a:cubicBezTo>
                      <a:pt x="13" y="11"/>
                      <a:pt x="17" y="7"/>
                      <a:pt x="22" y="4"/>
                    </a:cubicBezTo>
                    <a:cubicBezTo>
                      <a:pt x="27" y="1"/>
                      <a:pt x="32" y="0"/>
                      <a:pt x="38" y="0"/>
                    </a:cubicBezTo>
                    <a:cubicBezTo>
                      <a:pt x="54" y="0"/>
                      <a:pt x="64" y="6"/>
                      <a:pt x="68" y="18"/>
                    </a:cubicBezTo>
                    <a:cubicBezTo>
                      <a:pt x="69" y="18"/>
                      <a:pt x="69" y="18"/>
                      <a:pt x="69" y="18"/>
                    </a:cubicBezTo>
                    <a:cubicBezTo>
                      <a:pt x="72" y="12"/>
                      <a:pt x="76" y="8"/>
                      <a:pt x="82" y="5"/>
                    </a:cubicBezTo>
                    <a:cubicBezTo>
                      <a:pt x="87" y="2"/>
                      <a:pt x="93" y="0"/>
                      <a:pt x="100" y="0"/>
                    </a:cubicBezTo>
                    <a:cubicBezTo>
                      <a:pt x="111" y="0"/>
                      <a:pt x="119" y="3"/>
                      <a:pt x="124" y="9"/>
                    </a:cubicBezTo>
                    <a:cubicBezTo>
                      <a:pt x="130" y="14"/>
                      <a:pt x="132" y="24"/>
                      <a:pt x="132" y="36"/>
                    </a:cubicBezTo>
                    <a:cubicBezTo>
                      <a:pt x="132" y="101"/>
                      <a:pt x="132" y="101"/>
                      <a:pt x="132" y="101"/>
                    </a:cubicBezTo>
                    <a:lnTo>
                      <a:pt x="124" y="101"/>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834"/>
              <p:cNvSpPr>
                <a:spLocks noChangeArrowheads="1"/>
              </p:cNvSpPr>
              <p:nvPr/>
            </p:nvSpPr>
            <p:spPr bwMode="auto">
              <a:xfrm>
                <a:off x="3741225" y="4591151"/>
                <a:ext cx="20995" cy="2373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835"/>
              <p:cNvSpPr>
                <a:spLocks/>
              </p:cNvSpPr>
              <p:nvPr/>
            </p:nvSpPr>
            <p:spPr bwMode="auto">
              <a:xfrm>
                <a:off x="3851677" y="4425929"/>
                <a:ext cx="152443" cy="188956"/>
              </a:xfrm>
              <a:custGeom>
                <a:avLst/>
                <a:gdLst>
                  <a:gd name="T0" fmla="*/ 65 w 110"/>
                  <a:gd name="T1" fmla="*/ 65 h 136"/>
                  <a:gd name="T2" fmla="*/ 110 w 110"/>
                  <a:gd name="T3" fmla="*/ 65 h 136"/>
                  <a:gd name="T4" fmla="*/ 110 w 110"/>
                  <a:gd name="T5" fmla="*/ 130 h 136"/>
                  <a:gd name="T6" fmla="*/ 89 w 110"/>
                  <a:gd name="T7" fmla="*/ 135 h 136"/>
                  <a:gd name="T8" fmla="*/ 64 w 110"/>
                  <a:gd name="T9" fmla="*/ 136 h 136"/>
                  <a:gd name="T10" fmla="*/ 17 w 110"/>
                  <a:gd name="T11" fmla="*/ 118 h 136"/>
                  <a:gd name="T12" fmla="*/ 0 w 110"/>
                  <a:gd name="T13" fmla="*/ 68 h 136"/>
                  <a:gd name="T14" fmla="*/ 8 w 110"/>
                  <a:gd name="T15" fmla="*/ 32 h 136"/>
                  <a:gd name="T16" fmla="*/ 32 w 110"/>
                  <a:gd name="T17" fmla="*/ 8 h 136"/>
                  <a:gd name="T18" fmla="*/ 69 w 110"/>
                  <a:gd name="T19" fmla="*/ 0 h 136"/>
                  <a:gd name="T20" fmla="*/ 108 w 110"/>
                  <a:gd name="T21" fmla="*/ 8 h 136"/>
                  <a:gd name="T22" fmla="*/ 102 w 110"/>
                  <a:gd name="T23" fmla="*/ 21 h 136"/>
                  <a:gd name="T24" fmla="*/ 68 w 110"/>
                  <a:gd name="T25" fmla="*/ 14 h 136"/>
                  <a:gd name="T26" fmla="*/ 30 w 110"/>
                  <a:gd name="T27" fmla="*/ 28 h 136"/>
                  <a:gd name="T28" fmla="*/ 16 w 110"/>
                  <a:gd name="T29" fmla="*/ 68 h 136"/>
                  <a:gd name="T30" fmla="*/ 29 w 110"/>
                  <a:gd name="T31" fmla="*/ 109 h 136"/>
                  <a:gd name="T32" fmla="*/ 68 w 110"/>
                  <a:gd name="T33" fmla="*/ 123 h 136"/>
                  <a:gd name="T34" fmla="*/ 95 w 110"/>
                  <a:gd name="T35" fmla="*/ 120 h 136"/>
                  <a:gd name="T36" fmla="*/ 95 w 110"/>
                  <a:gd name="T37" fmla="*/ 79 h 136"/>
                  <a:gd name="T38" fmla="*/ 65 w 110"/>
                  <a:gd name="T39" fmla="*/ 79 h 136"/>
                  <a:gd name="T40" fmla="*/ 65 w 110"/>
                  <a:gd name="T41" fmla="*/ 6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36">
                    <a:moveTo>
                      <a:pt x="65" y="65"/>
                    </a:moveTo>
                    <a:cubicBezTo>
                      <a:pt x="110" y="65"/>
                      <a:pt x="110" y="65"/>
                      <a:pt x="110" y="65"/>
                    </a:cubicBezTo>
                    <a:cubicBezTo>
                      <a:pt x="110" y="130"/>
                      <a:pt x="110" y="130"/>
                      <a:pt x="110" y="130"/>
                    </a:cubicBezTo>
                    <a:cubicBezTo>
                      <a:pt x="103" y="132"/>
                      <a:pt x="96" y="134"/>
                      <a:pt x="89" y="135"/>
                    </a:cubicBezTo>
                    <a:cubicBezTo>
                      <a:pt x="81" y="136"/>
                      <a:pt x="73" y="136"/>
                      <a:pt x="64" y="136"/>
                    </a:cubicBezTo>
                    <a:cubicBezTo>
                      <a:pt x="43" y="136"/>
                      <a:pt x="28" y="130"/>
                      <a:pt x="17" y="118"/>
                    </a:cubicBezTo>
                    <a:cubicBezTo>
                      <a:pt x="5" y="107"/>
                      <a:pt x="0" y="90"/>
                      <a:pt x="0" y="68"/>
                    </a:cubicBezTo>
                    <a:cubicBezTo>
                      <a:pt x="0" y="54"/>
                      <a:pt x="3" y="42"/>
                      <a:pt x="8" y="32"/>
                    </a:cubicBezTo>
                    <a:cubicBezTo>
                      <a:pt x="14" y="22"/>
                      <a:pt x="22" y="14"/>
                      <a:pt x="32" y="8"/>
                    </a:cubicBezTo>
                    <a:cubicBezTo>
                      <a:pt x="42" y="3"/>
                      <a:pt x="55" y="0"/>
                      <a:pt x="69" y="0"/>
                    </a:cubicBezTo>
                    <a:cubicBezTo>
                      <a:pt x="83" y="0"/>
                      <a:pt x="96" y="3"/>
                      <a:pt x="108" y="8"/>
                    </a:cubicBezTo>
                    <a:cubicBezTo>
                      <a:pt x="102" y="21"/>
                      <a:pt x="102" y="21"/>
                      <a:pt x="102" y="21"/>
                    </a:cubicBezTo>
                    <a:cubicBezTo>
                      <a:pt x="90" y="16"/>
                      <a:pt x="79" y="14"/>
                      <a:pt x="68" y="14"/>
                    </a:cubicBezTo>
                    <a:cubicBezTo>
                      <a:pt x="51" y="14"/>
                      <a:pt x="39" y="19"/>
                      <a:pt x="30" y="28"/>
                    </a:cubicBezTo>
                    <a:cubicBezTo>
                      <a:pt x="21" y="38"/>
                      <a:pt x="16" y="51"/>
                      <a:pt x="16" y="68"/>
                    </a:cubicBezTo>
                    <a:cubicBezTo>
                      <a:pt x="16" y="86"/>
                      <a:pt x="20" y="100"/>
                      <a:pt x="29" y="109"/>
                    </a:cubicBezTo>
                    <a:cubicBezTo>
                      <a:pt x="38" y="118"/>
                      <a:pt x="51" y="123"/>
                      <a:pt x="68" y="123"/>
                    </a:cubicBezTo>
                    <a:cubicBezTo>
                      <a:pt x="77" y="123"/>
                      <a:pt x="86" y="122"/>
                      <a:pt x="95" y="120"/>
                    </a:cubicBezTo>
                    <a:cubicBezTo>
                      <a:pt x="95" y="79"/>
                      <a:pt x="95" y="79"/>
                      <a:pt x="95" y="79"/>
                    </a:cubicBezTo>
                    <a:cubicBezTo>
                      <a:pt x="65" y="79"/>
                      <a:pt x="65" y="79"/>
                      <a:pt x="65" y="79"/>
                    </a:cubicBezTo>
                    <a:lnTo>
                      <a:pt x="65" y="65"/>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Rectangle 836"/>
              <p:cNvSpPr>
                <a:spLocks noChangeArrowheads="1"/>
              </p:cNvSpPr>
              <p:nvPr/>
            </p:nvSpPr>
            <p:spPr bwMode="auto">
              <a:xfrm>
                <a:off x="4038808" y="4416801"/>
                <a:ext cx="20995" cy="196258"/>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837"/>
              <p:cNvSpPr>
                <a:spLocks noEditPoints="1"/>
              </p:cNvSpPr>
              <p:nvPr/>
            </p:nvSpPr>
            <p:spPr bwMode="auto">
              <a:xfrm>
                <a:off x="4089926" y="4471570"/>
                <a:ext cx="125970" cy="143314"/>
              </a:xfrm>
              <a:custGeom>
                <a:avLst/>
                <a:gdLst>
                  <a:gd name="T0" fmla="*/ 91 w 91"/>
                  <a:gd name="T1" fmla="*/ 52 h 103"/>
                  <a:gd name="T2" fmla="*/ 79 w 91"/>
                  <a:gd name="T3" fmla="*/ 90 h 103"/>
                  <a:gd name="T4" fmla="*/ 45 w 91"/>
                  <a:gd name="T5" fmla="*/ 103 h 103"/>
                  <a:gd name="T6" fmla="*/ 22 w 91"/>
                  <a:gd name="T7" fmla="*/ 97 h 103"/>
                  <a:gd name="T8" fmla="*/ 6 w 91"/>
                  <a:gd name="T9" fmla="*/ 79 h 103"/>
                  <a:gd name="T10" fmla="*/ 0 w 91"/>
                  <a:gd name="T11" fmla="*/ 52 h 103"/>
                  <a:gd name="T12" fmla="*/ 12 w 91"/>
                  <a:gd name="T13" fmla="*/ 14 h 103"/>
                  <a:gd name="T14" fmla="*/ 46 w 91"/>
                  <a:gd name="T15" fmla="*/ 0 h 103"/>
                  <a:gd name="T16" fmla="*/ 79 w 91"/>
                  <a:gd name="T17" fmla="*/ 14 h 103"/>
                  <a:gd name="T18" fmla="*/ 91 w 91"/>
                  <a:gd name="T19" fmla="*/ 52 h 103"/>
                  <a:gd name="T20" fmla="*/ 16 w 91"/>
                  <a:gd name="T21" fmla="*/ 52 h 103"/>
                  <a:gd name="T22" fmla="*/ 23 w 91"/>
                  <a:gd name="T23" fmla="*/ 81 h 103"/>
                  <a:gd name="T24" fmla="*/ 46 w 91"/>
                  <a:gd name="T25" fmla="*/ 91 h 103"/>
                  <a:gd name="T26" fmla="*/ 68 w 91"/>
                  <a:gd name="T27" fmla="*/ 81 h 103"/>
                  <a:gd name="T28" fmla="*/ 76 w 91"/>
                  <a:gd name="T29" fmla="*/ 52 h 103"/>
                  <a:gd name="T30" fmla="*/ 68 w 91"/>
                  <a:gd name="T31" fmla="*/ 23 h 103"/>
                  <a:gd name="T32" fmla="*/ 45 w 91"/>
                  <a:gd name="T33" fmla="*/ 13 h 103"/>
                  <a:gd name="T34" fmla="*/ 23 w 91"/>
                  <a:gd name="T35" fmla="*/ 23 h 103"/>
                  <a:gd name="T36" fmla="*/ 16 w 91"/>
                  <a:gd name="T37"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03">
                    <a:moveTo>
                      <a:pt x="91" y="52"/>
                    </a:moveTo>
                    <a:cubicBezTo>
                      <a:pt x="91" y="68"/>
                      <a:pt x="87" y="81"/>
                      <a:pt x="79" y="90"/>
                    </a:cubicBezTo>
                    <a:cubicBezTo>
                      <a:pt x="71" y="99"/>
                      <a:pt x="60" y="103"/>
                      <a:pt x="45" y="103"/>
                    </a:cubicBezTo>
                    <a:cubicBezTo>
                      <a:pt x="36" y="103"/>
                      <a:pt x="28" y="101"/>
                      <a:pt x="22" y="97"/>
                    </a:cubicBezTo>
                    <a:cubicBezTo>
                      <a:pt x="15" y="93"/>
                      <a:pt x="9" y="87"/>
                      <a:pt x="6" y="79"/>
                    </a:cubicBezTo>
                    <a:cubicBezTo>
                      <a:pt x="2" y="71"/>
                      <a:pt x="0" y="62"/>
                      <a:pt x="0" y="52"/>
                    </a:cubicBezTo>
                    <a:cubicBezTo>
                      <a:pt x="0" y="36"/>
                      <a:pt x="4" y="23"/>
                      <a:pt x="12" y="14"/>
                    </a:cubicBezTo>
                    <a:cubicBezTo>
                      <a:pt x="20" y="5"/>
                      <a:pt x="31" y="0"/>
                      <a:pt x="46" y="0"/>
                    </a:cubicBezTo>
                    <a:cubicBezTo>
                      <a:pt x="60" y="0"/>
                      <a:pt x="71" y="5"/>
                      <a:pt x="79" y="14"/>
                    </a:cubicBezTo>
                    <a:cubicBezTo>
                      <a:pt x="87" y="23"/>
                      <a:pt x="91" y="36"/>
                      <a:pt x="91" y="52"/>
                    </a:cubicBezTo>
                    <a:close/>
                    <a:moveTo>
                      <a:pt x="16" y="52"/>
                    </a:moveTo>
                    <a:cubicBezTo>
                      <a:pt x="16" y="64"/>
                      <a:pt x="18" y="74"/>
                      <a:pt x="23" y="81"/>
                    </a:cubicBezTo>
                    <a:cubicBezTo>
                      <a:pt x="28" y="87"/>
                      <a:pt x="36" y="91"/>
                      <a:pt x="46" y="91"/>
                    </a:cubicBezTo>
                    <a:cubicBezTo>
                      <a:pt x="55" y="91"/>
                      <a:pt x="63" y="87"/>
                      <a:pt x="68" y="81"/>
                    </a:cubicBezTo>
                    <a:cubicBezTo>
                      <a:pt x="73" y="74"/>
                      <a:pt x="76" y="65"/>
                      <a:pt x="76" y="52"/>
                    </a:cubicBezTo>
                    <a:cubicBezTo>
                      <a:pt x="76" y="39"/>
                      <a:pt x="73" y="29"/>
                      <a:pt x="68" y="23"/>
                    </a:cubicBezTo>
                    <a:cubicBezTo>
                      <a:pt x="63" y="16"/>
                      <a:pt x="55" y="13"/>
                      <a:pt x="45" y="13"/>
                    </a:cubicBezTo>
                    <a:cubicBezTo>
                      <a:pt x="36" y="13"/>
                      <a:pt x="28" y="16"/>
                      <a:pt x="23" y="23"/>
                    </a:cubicBezTo>
                    <a:cubicBezTo>
                      <a:pt x="18" y="29"/>
                      <a:pt x="16" y="39"/>
                      <a:pt x="16" y="52"/>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838"/>
              <p:cNvSpPr>
                <a:spLocks noEditPoints="1"/>
              </p:cNvSpPr>
              <p:nvPr/>
            </p:nvSpPr>
            <p:spPr bwMode="auto">
              <a:xfrm>
                <a:off x="4246020" y="4416801"/>
                <a:ext cx="122319" cy="198084"/>
              </a:xfrm>
              <a:custGeom>
                <a:avLst/>
                <a:gdLst>
                  <a:gd name="T0" fmla="*/ 46 w 88"/>
                  <a:gd name="T1" fmla="*/ 40 h 143"/>
                  <a:gd name="T2" fmla="*/ 77 w 88"/>
                  <a:gd name="T3" fmla="*/ 54 h 143"/>
                  <a:gd name="T4" fmla="*/ 88 w 88"/>
                  <a:gd name="T5" fmla="*/ 92 h 143"/>
                  <a:gd name="T6" fmla="*/ 77 w 88"/>
                  <a:gd name="T7" fmla="*/ 130 h 143"/>
                  <a:gd name="T8" fmla="*/ 46 w 88"/>
                  <a:gd name="T9" fmla="*/ 143 h 143"/>
                  <a:gd name="T10" fmla="*/ 29 w 88"/>
                  <a:gd name="T11" fmla="*/ 140 h 143"/>
                  <a:gd name="T12" fmla="*/ 15 w 88"/>
                  <a:gd name="T13" fmla="*/ 129 h 143"/>
                  <a:gd name="T14" fmla="*/ 14 w 88"/>
                  <a:gd name="T15" fmla="*/ 129 h 143"/>
                  <a:gd name="T16" fmla="*/ 11 w 88"/>
                  <a:gd name="T17" fmla="*/ 142 h 143"/>
                  <a:gd name="T18" fmla="*/ 0 w 88"/>
                  <a:gd name="T19" fmla="*/ 142 h 143"/>
                  <a:gd name="T20" fmla="*/ 0 w 88"/>
                  <a:gd name="T21" fmla="*/ 0 h 143"/>
                  <a:gd name="T22" fmla="*/ 15 w 88"/>
                  <a:gd name="T23" fmla="*/ 0 h 143"/>
                  <a:gd name="T24" fmla="*/ 15 w 88"/>
                  <a:gd name="T25" fmla="*/ 35 h 143"/>
                  <a:gd name="T26" fmla="*/ 14 w 88"/>
                  <a:gd name="T27" fmla="*/ 55 h 143"/>
                  <a:gd name="T28" fmla="*/ 15 w 88"/>
                  <a:gd name="T29" fmla="*/ 55 h 143"/>
                  <a:gd name="T30" fmla="*/ 46 w 88"/>
                  <a:gd name="T31" fmla="*/ 40 h 143"/>
                  <a:gd name="T32" fmla="*/ 44 w 88"/>
                  <a:gd name="T33" fmla="*/ 53 h 143"/>
                  <a:gd name="T34" fmla="*/ 22 w 88"/>
                  <a:gd name="T35" fmla="*/ 62 h 143"/>
                  <a:gd name="T36" fmla="*/ 15 w 88"/>
                  <a:gd name="T37" fmla="*/ 92 h 143"/>
                  <a:gd name="T38" fmla="*/ 22 w 88"/>
                  <a:gd name="T39" fmla="*/ 122 h 143"/>
                  <a:gd name="T40" fmla="*/ 45 w 88"/>
                  <a:gd name="T41" fmla="*/ 131 h 143"/>
                  <a:gd name="T42" fmla="*/ 65 w 88"/>
                  <a:gd name="T43" fmla="*/ 121 h 143"/>
                  <a:gd name="T44" fmla="*/ 72 w 88"/>
                  <a:gd name="T45" fmla="*/ 92 h 143"/>
                  <a:gd name="T46" fmla="*/ 65 w 88"/>
                  <a:gd name="T47" fmla="*/ 63 h 143"/>
                  <a:gd name="T48" fmla="*/ 44 w 88"/>
                  <a:gd name="T49" fmla="*/ 5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43">
                    <a:moveTo>
                      <a:pt x="46" y="40"/>
                    </a:moveTo>
                    <a:cubicBezTo>
                      <a:pt x="59" y="40"/>
                      <a:pt x="70" y="45"/>
                      <a:pt x="77" y="54"/>
                    </a:cubicBezTo>
                    <a:cubicBezTo>
                      <a:pt x="84" y="63"/>
                      <a:pt x="88" y="75"/>
                      <a:pt x="88" y="92"/>
                    </a:cubicBezTo>
                    <a:cubicBezTo>
                      <a:pt x="88" y="108"/>
                      <a:pt x="84" y="121"/>
                      <a:pt x="77" y="130"/>
                    </a:cubicBezTo>
                    <a:cubicBezTo>
                      <a:pt x="69" y="139"/>
                      <a:pt x="59" y="143"/>
                      <a:pt x="46" y="143"/>
                    </a:cubicBezTo>
                    <a:cubicBezTo>
                      <a:pt x="40" y="143"/>
                      <a:pt x="34" y="142"/>
                      <a:pt x="29" y="140"/>
                    </a:cubicBezTo>
                    <a:cubicBezTo>
                      <a:pt x="23" y="137"/>
                      <a:pt x="19" y="134"/>
                      <a:pt x="15" y="129"/>
                    </a:cubicBezTo>
                    <a:cubicBezTo>
                      <a:pt x="14" y="129"/>
                      <a:pt x="14" y="129"/>
                      <a:pt x="14" y="129"/>
                    </a:cubicBezTo>
                    <a:cubicBezTo>
                      <a:pt x="11" y="142"/>
                      <a:pt x="11" y="142"/>
                      <a:pt x="11" y="142"/>
                    </a:cubicBezTo>
                    <a:cubicBezTo>
                      <a:pt x="0" y="142"/>
                      <a:pt x="0" y="142"/>
                      <a:pt x="0" y="142"/>
                    </a:cubicBezTo>
                    <a:cubicBezTo>
                      <a:pt x="0" y="0"/>
                      <a:pt x="0" y="0"/>
                      <a:pt x="0" y="0"/>
                    </a:cubicBezTo>
                    <a:cubicBezTo>
                      <a:pt x="15" y="0"/>
                      <a:pt x="15" y="0"/>
                      <a:pt x="15" y="0"/>
                    </a:cubicBezTo>
                    <a:cubicBezTo>
                      <a:pt x="15" y="35"/>
                      <a:pt x="15" y="35"/>
                      <a:pt x="15" y="35"/>
                    </a:cubicBezTo>
                    <a:cubicBezTo>
                      <a:pt x="15" y="42"/>
                      <a:pt x="15" y="49"/>
                      <a:pt x="14" y="55"/>
                    </a:cubicBezTo>
                    <a:cubicBezTo>
                      <a:pt x="15" y="55"/>
                      <a:pt x="15" y="55"/>
                      <a:pt x="15" y="55"/>
                    </a:cubicBezTo>
                    <a:cubicBezTo>
                      <a:pt x="22" y="45"/>
                      <a:pt x="33" y="40"/>
                      <a:pt x="46" y="40"/>
                    </a:cubicBezTo>
                    <a:close/>
                    <a:moveTo>
                      <a:pt x="44" y="53"/>
                    </a:moveTo>
                    <a:cubicBezTo>
                      <a:pt x="34" y="53"/>
                      <a:pt x="27" y="56"/>
                      <a:pt x="22" y="62"/>
                    </a:cubicBezTo>
                    <a:cubicBezTo>
                      <a:pt x="17" y="68"/>
                      <a:pt x="15" y="78"/>
                      <a:pt x="15" y="92"/>
                    </a:cubicBezTo>
                    <a:cubicBezTo>
                      <a:pt x="15" y="106"/>
                      <a:pt x="18" y="116"/>
                      <a:pt x="22" y="122"/>
                    </a:cubicBezTo>
                    <a:cubicBezTo>
                      <a:pt x="27" y="128"/>
                      <a:pt x="34" y="131"/>
                      <a:pt x="45" y="131"/>
                    </a:cubicBezTo>
                    <a:cubicBezTo>
                      <a:pt x="54" y="131"/>
                      <a:pt x="61" y="127"/>
                      <a:pt x="65" y="121"/>
                    </a:cubicBezTo>
                    <a:cubicBezTo>
                      <a:pt x="70" y="114"/>
                      <a:pt x="72" y="104"/>
                      <a:pt x="72" y="92"/>
                    </a:cubicBezTo>
                    <a:cubicBezTo>
                      <a:pt x="72" y="79"/>
                      <a:pt x="70" y="69"/>
                      <a:pt x="65" y="63"/>
                    </a:cubicBezTo>
                    <a:cubicBezTo>
                      <a:pt x="61" y="56"/>
                      <a:pt x="54" y="53"/>
                      <a:pt x="44" y="53"/>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839"/>
              <p:cNvSpPr>
                <a:spLocks noEditPoints="1"/>
              </p:cNvSpPr>
              <p:nvPr/>
            </p:nvSpPr>
            <p:spPr bwMode="auto">
              <a:xfrm>
                <a:off x="4387508" y="4471570"/>
                <a:ext cx="110452" cy="143314"/>
              </a:xfrm>
              <a:custGeom>
                <a:avLst/>
                <a:gdLst>
                  <a:gd name="T0" fmla="*/ 69 w 80"/>
                  <a:gd name="T1" fmla="*/ 102 h 103"/>
                  <a:gd name="T2" fmla="*/ 66 w 80"/>
                  <a:gd name="T3" fmla="*/ 87 h 103"/>
                  <a:gd name="T4" fmla="*/ 65 w 80"/>
                  <a:gd name="T5" fmla="*/ 87 h 103"/>
                  <a:gd name="T6" fmla="*/ 50 w 80"/>
                  <a:gd name="T7" fmla="*/ 100 h 103"/>
                  <a:gd name="T8" fmla="*/ 32 w 80"/>
                  <a:gd name="T9" fmla="*/ 103 h 103"/>
                  <a:gd name="T10" fmla="*/ 8 w 80"/>
                  <a:gd name="T11" fmla="*/ 96 h 103"/>
                  <a:gd name="T12" fmla="*/ 0 w 80"/>
                  <a:gd name="T13" fmla="*/ 74 h 103"/>
                  <a:gd name="T14" fmla="*/ 48 w 80"/>
                  <a:gd name="T15" fmla="*/ 42 h 103"/>
                  <a:gd name="T16" fmla="*/ 65 w 80"/>
                  <a:gd name="T17" fmla="*/ 42 h 103"/>
                  <a:gd name="T18" fmla="*/ 65 w 80"/>
                  <a:gd name="T19" fmla="*/ 36 h 103"/>
                  <a:gd name="T20" fmla="*/ 60 w 80"/>
                  <a:gd name="T21" fmla="*/ 18 h 103"/>
                  <a:gd name="T22" fmla="*/ 44 w 80"/>
                  <a:gd name="T23" fmla="*/ 13 h 103"/>
                  <a:gd name="T24" fmla="*/ 16 w 80"/>
                  <a:gd name="T25" fmla="*/ 21 h 103"/>
                  <a:gd name="T26" fmla="*/ 11 w 80"/>
                  <a:gd name="T27" fmla="*/ 9 h 103"/>
                  <a:gd name="T28" fmla="*/ 27 w 80"/>
                  <a:gd name="T29" fmla="*/ 3 h 103"/>
                  <a:gd name="T30" fmla="*/ 45 w 80"/>
                  <a:gd name="T31" fmla="*/ 0 h 103"/>
                  <a:gd name="T32" fmla="*/ 71 w 80"/>
                  <a:gd name="T33" fmla="*/ 8 h 103"/>
                  <a:gd name="T34" fmla="*/ 80 w 80"/>
                  <a:gd name="T35" fmla="*/ 34 h 103"/>
                  <a:gd name="T36" fmla="*/ 80 w 80"/>
                  <a:gd name="T37" fmla="*/ 102 h 103"/>
                  <a:gd name="T38" fmla="*/ 69 w 80"/>
                  <a:gd name="T39" fmla="*/ 102 h 103"/>
                  <a:gd name="T40" fmla="*/ 35 w 80"/>
                  <a:gd name="T41" fmla="*/ 91 h 103"/>
                  <a:gd name="T42" fmla="*/ 57 w 80"/>
                  <a:gd name="T43" fmla="*/ 83 h 103"/>
                  <a:gd name="T44" fmla="*/ 65 w 80"/>
                  <a:gd name="T45" fmla="*/ 62 h 103"/>
                  <a:gd name="T46" fmla="*/ 65 w 80"/>
                  <a:gd name="T47" fmla="*/ 53 h 103"/>
                  <a:gd name="T48" fmla="*/ 50 w 80"/>
                  <a:gd name="T49" fmla="*/ 53 h 103"/>
                  <a:gd name="T50" fmla="*/ 24 w 80"/>
                  <a:gd name="T51" fmla="*/ 59 h 103"/>
                  <a:gd name="T52" fmla="*/ 16 w 80"/>
                  <a:gd name="T53" fmla="*/ 74 h 103"/>
                  <a:gd name="T54" fmla="*/ 21 w 80"/>
                  <a:gd name="T55" fmla="*/ 87 h 103"/>
                  <a:gd name="T56" fmla="*/ 35 w 80"/>
                  <a:gd name="T57" fmla="*/ 9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103">
                    <a:moveTo>
                      <a:pt x="69" y="102"/>
                    </a:moveTo>
                    <a:cubicBezTo>
                      <a:pt x="66" y="87"/>
                      <a:pt x="66" y="87"/>
                      <a:pt x="66" y="87"/>
                    </a:cubicBezTo>
                    <a:cubicBezTo>
                      <a:pt x="65" y="87"/>
                      <a:pt x="65" y="87"/>
                      <a:pt x="65" y="87"/>
                    </a:cubicBezTo>
                    <a:cubicBezTo>
                      <a:pt x="60" y="94"/>
                      <a:pt x="55" y="98"/>
                      <a:pt x="50" y="100"/>
                    </a:cubicBezTo>
                    <a:cubicBezTo>
                      <a:pt x="45" y="102"/>
                      <a:pt x="39" y="103"/>
                      <a:pt x="32" y="103"/>
                    </a:cubicBezTo>
                    <a:cubicBezTo>
                      <a:pt x="22" y="103"/>
                      <a:pt x="14" y="101"/>
                      <a:pt x="8" y="96"/>
                    </a:cubicBezTo>
                    <a:cubicBezTo>
                      <a:pt x="3" y="91"/>
                      <a:pt x="0" y="83"/>
                      <a:pt x="0" y="74"/>
                    </a:cubicBezTo>
                    <a:cubicBezTo>
                      <a:pt x="0" y="54"/>
                      <a:pt x="16" y="43"/>
                      <a:pt x="48" y="42"/>
                    </a:cubicBezTo>
                    <a:cubicBezTo>
                      <a:pt x="65" y="42"/>
                      <a:pt x="65" y="42"/>
                      <a:pt x="65" y="42"/>
                    </a:cubicBezTo>
                    <a:cubicBezTo>
                      <a:pt x="65" y="36"/>
                      <a:pt x="65" y="36"/>
                      <a:pt x="65" y="36"/>
                    </a:cubicBezTo>
                    <a:cubicBezTo>
                      <a:pt x="65" y="28"/>
                      <a:pt x="63" y="22"/>
                      <a:pt x="60" y="18"/>
                    </a:cubicBezTo>
                    <a:cubicBezTo>
                      <a:pt x="57" y="15"/>
                      <a:pt x="51" y="13"/>
                      <a:pt x="44" y="13"/>
                    </a:cubicBezTo>
                    <a:cubicBezTo>
                      <a:pt x="36" y="13"/>
                      <a:pt x="26" y="15"/>
                      <a:pt x="16" y="21"/>
                    </a:cubicBezTo>
                    <a:cubicBezTo>
                      <a:pt x="11" y="9"/>
                      <a:pt x="11" y="9"/>
                      <a:pt x="11" y="9"/>
                    </a:cubicBezTo>
                    <a:cubicBezTo>
                      <a:pt x="16" y="6"/>
                      <a:pt x="21" y="4"/>
                      <a:pt x="27" y="3"/>
                    </a:cubicBezTo>
                    <a:cubicBezTo>
                      <a:pt x="33" y="1"/>
                      <a:pt x="39" y="0"/>
                      <a:pt x="45" y="0"/>
                    </a:cubicBezTo>
                    <a:cubicBezTo>
                      <a:pt x="57" y="0"/>
                      <a:pt x="65" y="3"/>
                      <a:pt x="71" y="8"/>
                    </a:cubicBezTo>
                    <a:cubicBezTo>
                      <a:pt x="77" y="14"/>
                      <a:pt x="80" y="22"/>
                      <a:pt x="80" y="34"/>
                    </a:cubicBezTo>
                    <a:cubicBezTo>
                      <a:pt x="80" y="102"/>
                      <a:pt x="80" y="102"/>
                      <a:pt x="80" y="102"/>
                    </a:cubicBezTo>
                    <a:lnTo>
                      <a:pt x="69" y="102"/>
                    </a:lnTo>
                    <a:close/>
                    <a:moveTo>
                      <a:pt x="35" y="91"/>
                    </a:moveTo>
                    <a:cubicBezTo>
                      <a:pt x="44" y="91"/>
                      <a:pt x="51" y="88"/>
                      <a:pt x="57" y="83"/>
                    </a:cubicBezTo>
                    <a:cubicBezTo>
                      <a:pt x="62" y="78"/>
                      <a:pt x="65" y="71"/>
                      <a:pt x="65" y="62"/>
                    </a:cubicBezTo>
                    <a:cubicBezTo>
                      <a:pt x="65" y="53"/>
                      <a:pt x="65" y="53"/>
                      <a:pt x="65" y="53"/>
                    </a:cubicBezTo>
                    <a:cubicBezTo>
                      <a:pt x="50" y="53"/>
                      <a:pt x="50" y="53"/>
                      <a:pt x="50" y="53"/>
                    </a:cubicBezTo>
                    <a:cubicBezTo>
                      <a:pt x="38" y="54"/>
                      <a:pt x="29" y="56"/>
                      <a:pt x="24" y="59"/>
                    </a:cubicBezTo>
                    <a:cubicBezTo>
                      <a:pt x="18" y="62"/>
                      <a:pt x="16" y="67"/>
                      <a:pt x="16" y="74"/>
                    </a:cubicBezTo>
                    <a:cubicBezTo>
                      <a:pt x="16" y="80"/>
                      <a:pt x="17" y="84"/>
                      <a:pt x="21" y="87"/>
                    </a:cubicBezTo>
                    <a:cubicBezTo>
                      <a:pt x="24" y="90"/>
                      <a:pt x="29" y="91"/>
                      <a:pt x="35" y="91"/>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Rectangle 840"/>
              <p:cNvSpPr>
                <a:spLocks noChangeArrowheads="1"/>
              </p:cNvSpPr>
              <p:nvPr/>
            </p:nvSpPr>
            <p:spPr bwMode="auto">
              <a:xfrm>
                <a:off x="4534474" y="4416801"/>
                <a:ext cx="20995" cy="196258"/>
              </a:xfrm>
              <a:prstGeom prst="rect">
                <a:avLst/>
              </a:prstGeom>
              <a:solidFill>
                <a:srgbClr val="86BC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841"/>
              <p:cNvSpPr>
                <a:spLocks noEditPoints="1"/>
              </p:cNvSpPr>
              <p:nvPr/>
            </p:nvSpPr>
            <p:spPr bwMode="auto">
              <a:xfrm>
                <a:off x="4652229" y="4425929"/>
                <a:ext cx="16431" cy="187130"/>
              </a:xfrm>
              <a:custGeom>
                <a:avLst/>
                <a:gdLst>
                  <a:gd name="T0" fmla="*/ 0 w 12"/>
                  <a:gd name="T1" fmla="*/ 8 h 135"/>
                  <a:gd name="T2" fmla="*/ 6 w 12"/>
                  <a:gd name="T3" fmla="*/ 0 h 135"/>
                  <a:gd name="T4" fmla="*/ 11 w 12"/>
                  <a:gd name="T5" fmla="*/ 2 h 135"/>
                  <a:gd name="T6" fmla="*/ 12 w 12"/>
                  <a:gd name="T7" fmla="*/ 8 h 135"/>
                  <a:gd name="T8" fmla="*/ 11 w 12"/>
                  <a:gd name="T9" fmla="*/ 15 h 135"/>
                  <a:gd name="T10" fmla="*/ 6 w 12"/>
                  <a:gd name="T11" fmla="*/ 17 h 135"/>
                  <a:gd name="T12" fmla="*/ 0 w 12"/>
                  <a:gd name="T13" fmla="*/ 8 h 135"/>
                  <a:gd name="T14" fmla="*/ 11 w 12"/>
                  <a:gd name="T15" fmla="*/ 135 h 135"/>
                  <a:gd name="T16" fmla="*/ 2 w 12"/>
                  <a:gd name="T17" fmla="*/ 135 h 135"/>
                  <a:gd name="T18" fmla="*/ 2 w 12"/>
                  <a:gd name="T19" fmla="*/ 36 h 135"/>
                  <a:gd name="T20" fmla="*/ 11 w 12"/>
                  <a:gd name="T21" fmla="*/ 36 h 135"/>
                  <a:gd name="T22" fmla="*/ 11 w 12"/>
                  <a:gd name="T2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35">
                    <a:moveTo>
                      <a:pt x="0" y="8"/>
                    </a:moveTo>
                    <a:cubicBezTo>
                      <a:pt x="0" y="3"/>
                      <a:pt x="2" y="0"/>
                      <a:pt x="6" y="0"/>
                    </a:cubicBezTo>
                    <a:cubicBezTo>
                      <a:pt x="8" y="0"/>
                      <a:pt x="10" y="1"/>
                      <a:pt x="11" y="2"/>
                    </a:cubicBezTo>
                    <a:cubicBezTo>
                      <a:pt x="12" y="4"/>
                      <a:pt x="12" y="6"/>
                      <a:pt x="12" y="8"/>
                    </a:cubicBezTo>
                    <a:cubicBezTo>
                      <a:pt x="12" y="11"/>
                      <a:pt x="12" y="13"/>
                      <a:pt x="11" y="15"/>
                    </a:cubicBezTo>
                    <a:cubicBezTo>
                      <a:pt x="10" y="17"/>
                      <a:pt x="8" y="17"/>
                      <a:pt x="6" y="17"/>
                    </a:cubicBezTo>
                    <a:cubicBezTo>
                      <a:pt x="2" y="17"/>
                      <a:pt x="0" y="14"/>
                      <a:pt x="0" y="8"/>
                    </a:cubicBezTo>
                    <a:close/>
                    <a:moveTo>
                      <a:pt x="11" y="135"/>
                    </a:moveTo>
                    <a:cubicBezTo>
                      <a:pt x="2" y="135"/>
                      <a:pt x="2" y="135"/>
                      <a:pt x="2" y="135"/>
                    </a:cubicBezTo>
                    <a:cubicBezTo>
                      <a:pt x="2" y="36"/>
                      <a:pt x="2" y="36"/>
                      <a:pt x="2" y="36"/>
                    </a:cubicBezTo>
                    <a:cubicBezTo>
                      <a:pt x="11" y="36"/>
                      <a:pt x="11" y="36"/>
                      <a:pt x="11" y="36"/>
                    </a:cubicBezTo>
                    <a:lnTo>
                      <a:pt x="11" y="135"/>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842"/>
              <p:cNvSpPr>
                <a:spLocks/>
              </p:cNvSpPr>
              <p:nvPr/>
            </p:nvSpPr>
            <p:spPr bwMode="auto">
              <a:xfrm>
                <a:off x="4706086" y="4473396"/>
                <a:ext cx="182566" cy="139663"/>
              </a:xfrm>
              <a:custGeom>
                <a:avLst/>
                <a:gdLst>
                  <a:gd name="T0" fmla="*/ 123 w 132"/>
                  <a:gd name="T1" fmla="*/ 101 h 101"/>
                  <a:gd name="T2" fmla="*/ 123 w 132"/>
                  <a:gd name="T3" fmla="*/ 36 h 101"/>
                  <a:gd name="T4" fmla="*/ 118 w 132"/>
                  <a:gd name="T5" fmla="*/ 15 h 101"/>
                  <a:gd name="T6" fmla="*/ 101 w 132"/>
                  <a:gd name="T7" fmla="*/ 8 h 101"/>
                  <a:gd name="T8" fmla="*/ 78 w 132"/>
                  <a:gd name="T9" fmla="*/ 17 h 101"/>
                  <a:gd name="T10" fmla="*/ 71 w 132"/>
                  <a:gd name="T11" fmla="*/ 43 h 101"/>
                  <a:gd name="T12" fmla="*/ 71 w 132"/>
                  <a:gd name="T13" fmla="*/ 101 h 101"/>
                  <a:gd name="T14" fmla="*/ 62 w 132"/>
                  <a:gd name="T15" fmla="*/ 101 h 101"/>
                  <a:gd name="T16" fmla="*/ 62 w 132"/>
                  <a:gd name="T17" fmla="*/ 33 h 101"/>
                  <a:gd name="T18" fmla="*/ 39 w 132"/>
                  <a:gd name="T19" fmla="*/ 8 h 101"/>
                  <a:gd name="T20" fmla="*/ 16 w 132"/>
                  <a:gd name="T21" fmla="*/ 17 h 101"/>
                  <a:gd name="T22" fmla="*/ 9 w 132"/>
                  <a:gd name="T23" fmla="*/ 46 h 101"/>
                  <a:gd name="T24" fmla="*/ 9 w 132"/>
                  <a:gd name="T25" fmla="*/ 101 h 101"/>
                  <a:gd name="T26" fmla="*/ 0 w 132"/>
                  <a:gd name="T27" fmla="*/ 101 h 101"/>
                  <a:gd name="T28" fmla="*/ 0 w 132"/>
                  <a:gd name="T29" fmla="*/ 2 h 101"/>
                  <a:gd name="T30" fmla="*/ 8 w 132"/>
                  <a:gd name="T31" fmla="*/ 2 h 101"/>
                  <a:gd name="T32" fmla="*/ 9 w 132"/>
                  <a:gd name="T33" fmla="*/ 15 h 101"/>
                  <a:gd name="T34" fmla="*/ 10 w 132"/>
                  <a:gd name="T35" fmla="*/ 15 h 101"/>
                  <a:gd name="T36" fmla="*/ 22 w 132"/>
                  <a:gd name="T37" fmla="*/ 4 h 101"/>
                  <a:gd name="T38" fmla="*/ 38 w 132"/>
                  <a:gd name="T39" fmla="*/ 0 h 101"/>
                  <a:gd name="T40" fmla="*/ 68 w 132"/>
                  <a:gd name="T41" fmla="*/ 18 h 101"/>
                  <a:gd name="T42" fmla="*/ 69 w 132"/>
                  <a:gd name="T43" fmla="*/ 18 h 101"/>
                  <a:gd name="T44" fmla="*/ 81 w 132"/>
                  <a:gd name="T45" fmla="*/ 5 h 101"/>
                  <a:gd name="T46" fmla="*/ 100 w 132"/>
                  <a:gd name="T47" fmla="*/ 0 h 101"/>
                  <a:gd name="T48" fmla="*/ 124 w 132"/>
                  <a:gd name="T49" fmla="*/ 9 h 101"/>
                  <a:gd name="T50" fmla="*/ 132 w 132"/>
                  <a:gd name="T51" fmla="*/ 36 h 101"/>
                  <a:gd name="T52" fmla="*/ 132 w 132"/>
                  <a:gd name="T53" fmla="*/ 101 h 101"/>
                  <a:gd name="T54" fmla="*/ 123 w 132"/>
                  <a:gd name="T5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2" h="101">
                    <a:moveTo>
                      <a:pt x="123" y="101"/>
                    </a:moveTo>
                    <a:cubicBezTo>
                      <a:pt x="123" y="36"/>
                      <a:pt x="123" y="36"/>
                      <a:pt x="123" y="36"/>
                    </a:cubicBezTo>
                    <a:cubicBezTo>
                      <a:pt x="123" y="26"/>
                      <a:pt x="122" y="19"/>
                      <a:pt x="118" y="15"/>
                    </a:cubicBezTo>
                    <a:cubicBezTo>
                      <a:pt x="114" y="10"/>
                      <a:pt x="108" y="8"/>
                      <a:pt x="101" y="8"/>
                    </a:cubicBezTo>
                    <a:cubicBezTo>
                      <a:pt x="90" y="8"/>
                      <a:pt x="83" y="11"/>
                      <a:pt x="78" y="17"/>
                    </a:cubicBezTo>
                    <a:cubicBezTo>
                      <a:pt x="73" y="22"/>
                      <a:pt x="71" y="31"/>
                      <a:pt x="71" y="43"/>
                    </a:cubicBezTo>
                    <a:cubicBezTo>
                      <a:pt x="71" y="101"/>
                      <a:pt x="71" y="101"/>
                      <a:pt x="71" y="101"/>
                    </a:cubicBezTo>
                    <a:cubicBezTo>
                      <a:pt x="62" y="101"/>
                      <a:pt x="62" y="101"/>
                      <a:pt x="62" y="101"/>
                    </a:cubicBezTo>
                    <a:cubicBezTo>
                      <a:pt x="62" y="33"/>
                      <a:pt x="62" y="33"/>
                      <a:pt x="62" y="33"/>
                    </a:cubicBezTo>
                    <a:cubicBezTo>
                      <a:pt x="62" y="16"/>
                      <a:pt x="54" y="8"/>
                      <a:pt x="39" y="8"/>
                    </a:cubicBezTo>
                    <a:cubicBezTo>
                      <a:pt x="28" y="8"/>
                      <a:pt x="21" y="11"/>
                      <a:pt x="16" y="17"/>
                    </a:cubicBezTo>
                    <a:cubicBezTo>
                      <a:pt x="11" y="23"/>
                      <a:pt x="9" y="33"/>
                      <a:pt x="9" y="46"/>
                    </a:cubicBezTo>
                    <a:cubicBezTo>
                      <a:pt x="9" y="101"/>
                      <a:pt x="9" y="101"/>
                      <a:pt x="9" y="101"/>
                    </a:cubicBezTo>
                    <a:cubicBezTo>
                      <a:pt x="0" y="101"/>
                      <a:pt x="0" y="101"/>
                      <a:pt x="0" y="101"/>
                    </a:cubicBezTo>
                    <a:cubicBezTo>
                      <a:pt x="0" y="2"/>
                      <a:pt x="0" y="2"/>
                      <a:pt x="0" y="2"/>
                    </a:cubicBezTo>
                    <a:cubicBezTo>
                      <a:pt x="8" y="2"/>
                      <a:pt x="8" y="2"/>
                      <a:pt x="8" y="2"/>
                    </a:cubicBezTo>
                    <a:cubicBezTo>
                      <a:pt x="9" y="15"/>
                      <a:pt x="9" y="15"/>
                      <a:pt x="9" y="15"/>
                    </a:cubicBezTo>
                    <a:cubicBezTo>
                      <a:pt x="10" y="15"/>
                      <a:pt x="10" y="15"/>
                      <a:pt x="10" y="15"/>
                    </a:cubicBezTo>
                    <a:cubicBezTo>
                      <a:pt x="13" y="11"/>
                      <a:pt x="17" y="7"/>
                      <a:pt x="22" y="4"/>
                    </a:cubicBezTo>
                    <a:cubicBezTo>
                      <a:pt x="27" y="1"/>
                      <a:pt x="32" y="0"/>
                      <a:pt x="38" y="0"/>
                    </a:cubicBezTo>
                    <a:cubicBezTo>
                      <a:pt x="54" y="0"/>
                      <a:pt x="64" y="6"/>
                      <a:pt x="68" y="18"/>
                    </a:cubicBezTo>
                    <a:cubicBezTo>
                      <a:pt x="69" y="18"/>
                      <a:pt x="69" y="18"/>
                      <a:pt x="69" y="18"/>
                    </a:cubicBezTo>
                    <a:cubicBezTo>
                      <a:pt x="72" y="12"/>
                      <a:pt x="76" y="8"/>
                      <a:pt x="81" y="5"/>
                    </a:cubicBezTo>
                    <a:cubicBezTo>
                      <a:pt x="87" y="2"/>
                      <a:pt x="93" y="0"/>
                      <a:pt x="100" y="0"/>
                    </a:cubicBezTo>
                    <a:cubicBezTo>
                      <a:pt x="111" y="0"/>
                      <a:pt x="119" y="3"/>
                      <a:pt x="124" y="9"/>
                    </a:cubicBezTo>
                    <a:cubicBezTo>
                      <a:pt x="130" y="14"/>
                      <a:pt x="132" y="24"/>
                      <a:pt x="132" y="36"/>
                    </a:cubicBezTo>
                    <a:cubicBezTo>
                      <a:pt x="132" y="101"/>
                      <a:pt x="132" y="101"/>
                      <a:pt x="132" y="101"/>
                    </a:cubicBezTo>
                    <a:lnTo>
                      <a:pt x="123" y="101"/>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843"/>
              <p:cNvSpPr>
                <a:spLocks noEditPoints="1"/>
              </p:cNvSpPr>
              <p:nvPr/>
            </p:nvSpPr>
            <p:spPr bwMode="auto">
              <a:xfrm>
                <a:off x="4926991" y="4473396"/>
                <a:ext cx="115017" cy="200823"/>
              </a:xfrm>
              <a:custGeom>
                <a:avLst/>
                <a:gdLst>
                  <a:gd name="T0" fmla="*/ 42 w 83"/>
                  <a:gd name="T1" fmla="*/ 102 h 145"/>
                  <a:gd name="T2" fmla="*/ 9 w 83"/>
                  <a:gd name="T3" fmla="*/ 85 h 145"/>
                  <a:gd name="T4" fmla="*/ 8 w 83"/>
                  <a:gd name="T5" fmla="*/ 85 h 145"/>
                  <a:gd name="T6" fmla="*/ 8 w 83"/>
                  <a:gd name="T7" fmla="*/ 93 h 145"/>
                  <a:gd name="T8" fmla="*/ 9 w 83"/>
                  <a:gd name="T9" fmla="*/ 108 h 145"/>
                  <a:gd name="T10" fmla="*/ 9 w 83"/>
                  <a:gd name="T11" fmla="*/ 145 h 145"/>
                  <a:gd name="T12" fmla="*/ 0 w 83"/>
                  <a:gd name="T13" fmla="*/ 145 h 145"/>
                  <a:gd name="T14" fmla="*/ 0 w 83"/>
                  <a:gd name="T15" fmla="*/ 2 h 145"/>
                  <a:gd name="T16" fmla="*/ 7 w 83"/>
                  <a:gd name="T17" fmla="*/ 2 h 145"/>
                  <a:gd name="T18" fmla="*/ 9 w 83"/>
                  <a:gd name="T19" fmla="*/ 16 h 145"/>
                  <a:gd name="T20" fmla="*/ 9 w 83"/>
                  <a:gd name="T21" fmla="*/ 16 h 145"/>
                  <a:gd name="T22" fmla="*/ 42 w 83"/>
                  <a:gd name="T23" fmla="*/ 0 h 145"/>
                  <a:gd name="T24" fmla="*/ 72 w 83"/>
                  <a:gd name="T25" fmla="*/ 13 h 145"/>
                  <a:gd name="T26" fmla="*/ 83 w 83"/>
                  <a:gd name="T27" fmla="*/ 51 h 145"/>
                  <a:gd name="T28" fmla="*/ 72 w 83"/>
                  <a:gd name="T29" fmla="*/ 89 h 145"/>
                  <a:gd name="T30" fmla="*/ 42 w 83"/>
                  <a:gd name="T31" fmla="*/ 102 h 145"/>
                  <a:gd name="T32" fmla="*/ 42 w 83"/>
                  <a:gd name="T33" fmla="*/ 94 h 145"/>
                  <a:gd name="T34" fmla="*/ 65 w 83"/>
                  <a:gd name="T35" fmla="*/ 83 h 145"/>
                  <a:gd name="T36" fmla="*/ 73 w 83"/>
                  <a:gd name="T37" fmla="*/ 52 h 145"/>
                  <a:gd name="T38" fmla="*/ 42 w 83"/>
                  <a:gd name="T39" fmla="*/ 8 h 145"/>
                  <a:gd name="T40" fmla="*/ 17 w 83"/>
                  <a:gd name="T41" fmla="*/ 18 h 145"/>
                  <a:gd name="T42" fmla="*/ 9 w 83"/>
                  <a:gd name="T43" fmla="*/ 49 h 145"/>
                  <a:gd name="T44" fmla="*/ 9 w 83"/>
                  <a:gd name="T45" fmla="*/ 51 h 145"/>
                  <a:gd name="T46" fmla="*/ 16 w 83"/>
                  <a:gd name="T47" fmla="*/ 85 h 145"/>
                  <a:gd name="T48" fmla="*/ 42 w 83"/>
                  <a:gd name="T49"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45">
                    <a:moveTo>
                      <a:pt x="42" y="102"/>
                    </a:moveTo>
                    <a:cubicBezTo>
                      <a:pt x="27" y="102"/>
                      <a:pt x="16" y="97"/>
                      <a:pt x="9" y="85"/>
                    </a:cubicBezTo>
                    <a:cubicBezTo>
                      <a:pt x="8" y="85"/>
                      <a:pt x="8" y="85"/>
                      <a:pt x="8" y="85"/>
                    </a:cubicBezTo>
                    <a:cubicBezTo>
                      <a:pt x="8" y="93"/>
                      <a:pt x="8" y="93"/>
                      <a:pt x="8" y="93"/>
                    </a:cubicBezTo>
                    <a:cubicBezTo>
                      <a:pt x="8" y="97"/>
                      <a:pt x="9" y="102"/>
                      <a:pt x="9" y="108"/>
                    </a:cubicBezTo>
                    <a:cubicBezTo>
                      <a:pt x="9" y="145"/>
                      <a:pt x="9" y="145"/>
                      <a:pt x="9" y="145"/>
                    </a:cubicBezTo>
                    <a:cubicBezTo>
                      <a:pt x="0" y="145"/>
                      <a:pt x="0" y="145"/>
                      <a:pt x="0" y="145"/>
                    </a:cubicBezTo>
                    <a:cubicBezTo>
                      <a:pt x="0" y="2"/>
                      <a:pt x="0" y="2"/>
                      <a:pt x="0" y="2"/>
                    </a:cubicBezTo>
                    <a:cubicBezTo>
                      <a:pt x="7" y="2"/>
                      <a:pt x="7" y="2"/>
                      <a:pt x="7" y="2"/>
                    </a:cubicBezTo>
                    <a:cubicBezTo>
                      <a:pt x="9" y="16"/>
                      <a:pt x="9" y="16"/>
                      <a:pt x="9" y="16"/>
                    </a:cubicBezTo>
                    <a:cubicBezTo>
                      <a:pt x="9" y="16"/>
                      <a:pt x="9" y="16"/>
                      <a:pt x="9" y="16"/>
                    </a:cubicBezTo>
                    <a:cubicBezTo>
                      <a:pt x="16" y="5"/>
                      <a:pt x="27" y="0"/>
                      <a:pt x="42" y="0"/>
                    </a:cubicBezTo>
                    <a:cubicBezTo>
                      <a:pt x="55" y="0"/>
                      <a:pt x="65" y="4"/>
                      <a:pt x="72" y="13"/>
                    </a:cubicBezTo>
                    <a:cubicBezTo>
                      <a:pt x="79" y="22"/>
                      <a:pt x="83" y="35"/>
                      <a:pt x="83" y="51"/>
                    </a:cubicBezTo>
                    <a:cubicBezTo>
                      <a:pt x="83" y="68"/>
                      <a:pt x="79" y="80"/>
                      <a:pt x="72" y="89"/>
                    </a:cubicBezTo>
                    <a:cubicBezTo>
                      <a:pt x="65" y="98"/>
                      <a:pt x="55" y="102"/>
                      <a:pt x="42" y="102"/>
                    </a:cubicBezTo>
                    <a:close/>
                    <a:moveTo>
                      <a:pt x="42" y="94"/>
                    </a:moveTo>
                    <a:cubicBezTo>
                      <a:pt x="52" y="94"/>
                      <a:pt x="60" y="91"/>
                      <a:pt x="65" y="83"/>
                    </a:cubicBezTo>
                    <a:cubicBezTo>
                      <a:pt x="71" y="76"/>
                      <a:pt x="73" y="65"/>
                      <a:pt x="73" y="52"/>
                    </a:cubicBezTo>
                    <a:cubicBezTo>
                      <a:pt x="73" y="23"/>
                      <a:pt x="63" y="8"/>
                      <a:pt x="42" y="8"/>
                    </a:cubicBezTo>
                    <a:cubicBezTo>
                      <a:pt x="30" y="8"/>
                      <a:pt x="22" y="11"/>
                      <a:pt x="17" y="18"/>
                    </a:cubicBezTo>
                    <a:cubicBezTo>
                      <a:pt x="11" y="24"/>
                      <a:pt x="9" y="34"/>
                      <a:pt x="9" y="49"/>
                    </a:cubicBezTo>
                    <a:cubicBezTo>
                      <a:pt x="9" y="51"/>
                      <a:pt x="9" y="51"/>
                      <a:pt x="9" y="51"/>
                    </a:cubicBezTo>
                    <a:cubicBezTo>
                      <a:pt x="9" y="67"/>
                      <a:pt x="11" y="78"/>
                      <a:pt x="16" y="85"/>
                    </a:cubicBezTo>
                    <a:cubicBezTo>
                      <a:pt x="22" y="91"/>
                      <a:pt x="30" y="94"/>
                      <a:pt x="42"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844"/>
              <p:cNvSpPr>
                <a:spLocks noEditPoints="1"/>
              </p:cNvSpPr>
              <p:nvPr/>
            </p:nvSpPr>
            <p:spPr bwMode="auto">
              <a:xfrm>
                <a:off x="5063002" y="4473396"/>
                <a:ext cx="102237" cy="141489"/>
              </a:xfrm>
              <a:custGeom>
                <a:avLst/>
                <a:gdLst>
                  <a:gd name="T0" fmla="*/ 68 w 74"/>
                  <a:gd name="T1" fmla="*/ 101 h 102"/>
                  <a:gd name="T2" fmla="*/ 65 w 74"/>
                  <a:gd name="T3" fmla="*/ 85 h 102"/>
                  <a:gd name="T4" fmla="*/ 65 w 74"/>
                  <a:gd name="T5" fmla="*/ 85 h 102"/>
                  <a:gd name="T6" fmla="*/ 49 w 74"/>
                  <a:gd name="T7" fmla="*/ 98 h 102"/>
                  <a:gd name="T8" fmla="*/ 31 w 74"/>
                  <a:gd name="T9" fmla="*/ 102 h 102"/>
                  <a:gd name="T10" fmla="*/ 8 w 74"/>
                  <a:gd name="T11" fmla="*/ 95 h 102"/>
                  <a:gd name="T12" fmla="*/ 0 w 74"/>
                  <a:gd name="T13" fmla="*/ 74 h 102"/>
                  <a:gd name="T14" fmla="*/ 12 w 74"/>
                  <a:gd name="T15" fmla="*/ 52 h 102"/>
                  <a:gd name="T16" fmla="*/ 47 w 74"/>
                  <a:gd name="T17" fmla="*/ 43 h 102"/>
                  <a:gd name="T18" fmla="*/ 66 w 74"/>
                  <a:gd name="T19" fmla="*/ 43 h 102"/>
                  <a:gd name="T20" fmla="*/ 66 w 74"/>
                  <a:gd name="T21" fmla="*/ 36 h 102"/>
                  <a:gd name="T22" fmla="*/ 60 w 74"/>
                  <a:gd name="T23" fmla="*/ 15 h 102"/>
                  <a:gd name="T24" fmla="*/ 41 w 74"/>
                  <a:gd name="T25" fmla="*/ 8 h 102"/>
                  <a:gd name="T26" fmla="*/ 13 w 74"/>
                  <a:gd name="T27" fmla="*/ 16 h 102"/>
                  <a:gd name="T28" fmla="*/ 10 w 74"/>
                  <a:gd name="T29" fmla="*/ 8 h 102"/>
                  <a:gd name="T30" fmla="*/ 42 w 74"/>
                  <a:gd name="T31" fmla="*/ 0 h 102"/>
                  <a:gd name="T32" fmla="*/ 66 w 74"/>
                  <a:gd name="T33" fmla="*/ 9 h 102"/>
                  <a:gd name="T34" fmla="*/ 74 w 74"/>
                  <a:gd name="T35" fmla="*/ 35 h 102"/>
                  <a:gd name="T36" fmla="*/ 74 w 74"/>
                  <a:gd name="T37" fmla="*/ 101 h 102"/>
                  <a:gd name="T38" fmla="*/ 68 w 74"/>
                  <a:gd name="T39" fmla="*/ 101 h 102"/>
                  <a:gd name="T40" fmla="*/ 31 w 74"/>
                  <a:gd name="T41" fmla="*/ 94 h 102"/>
                  <a:gd name="T42" fmla="*/ 56 w 74"/>
                  <a:gd name="T43" fmla="*/ 85 h 102"/>
                  <a:gd name="T44" fmla="*/ 65 w 74"/>
                  <a:gd name="T45" fmla="*/ 60 h 102"/>
                  <a:gd name="T46" fmla="*/ 65 w 74"/>
                  <a:gd name="T47" fmla="*/ 50 h 102"/>
                  <a:gd name="T48" fmla="*/ 48 w 74"/>
                  <a:gd name="T49" fmla="*/ 51 h 102"/>
                  <a:gd name="T50" fmla="*/ 18 w 74"/>
                  <a:gd name="T51" fmla="*/ 58 h 102"/>
                  <a:gd name="T52" fmla="*/ 9 w 74"/>
                  <a:gd name="T53" fmla="*/ 75 h 102"/>
                  <a:gd name="T54" fmla="*/ 15 w 74"/>
                  <a:gd name="T55" fmla="*/ 89 h 102"/>
                  <a:gd name="T56" fmla="*/ 31 w 74"/>
                  <a:gd name="T5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102">
                    <a:moveTo>
                      <a:pt x="68" y="101"/>
                    </a:moveTo>
                    <a:cubicBezTo>
                      <a:pt x="65" y="85"/>
                      <a:pt x="65" y="85"/>
                      <a:pt x="65" y="85"/>
                    </a:cubicBezTo>
                    <a:cubicBezTo>
                      <a:pt x="65" y="85"/>
                      <a:pt x="65" y="85"/>
                      <a:pt x="65" y="85"/>
                    </a:cubicBezTo>
                    <a:cubicBezTo>
                      <a:pt x="60" y="91"/>
                      <a:pt x="54" y="96"/>
                      <a:pt x="49" y="98"/>
                    </a:cubicBezTo>
                    <a:cubicBezTo>
                      <a:pt x="44" y="101"/>
                      <a:pt x="38" y="102"/>
                      <a:pt x="31" y="102"/>
                    </a:cubicBezTo>
                    <a:cubicBezTo>
                      <a:pt x="21" y="102"/>
                      <a:pt x="13" y="100"/>
                      <a:pt x="8" y="95"/>
                    </a:cubicBezTo>
                    <a:cubicBezTo>
                      <a:pt x="3" y="90"/>
                      <a:pt x="0" y="83"/>
                      <a:pt x="0" y="74"/>
                    </a:cubicBezTo>
                    <a:cubicBezTo>
                      <a:pt x="0" y="65"/>
                      <a:pt x="4" y="57"/>
                      <a:pt x="12" y="52"/>
                    </a:cubicBezTo>
                    <a:cubicBezTo>
                      <a:pt x="20" y="47"/>
                      <a:pt x="32" y="44"/>
                      <a:pt x="47" y="43"/>
                    </a:cubicBezTo>
                    <a:cubicBezTo>
                      <a:pt x="66" y="43"/>
                      <a:pt x="66" y="43"/>
                      <a:pt x="66" y="43"/>
                    </a:cubicBezTo>
                    <a:cubicBezTo>
                      <a:pt x="66" y="36"/>
                      <a:pt x="66" y="36"/>
                      <a:pt x="66" y="36"/>
                    </a:cubicBezTo>
                    <a:cubicBezTo>
                      <a:pt x="66" y="27"/>
                      <a:pt x="64" y="20"/>
                      <a:pt x="60" y="15"/>
                    </a:cubicBezTo>
                    <a:cubicBezTo>
                      <a:pt x="56" y="10"/>
                      <a:pt x="50" y="8"/>
                      <a:pt x="41" y="8"/>
                    </a:cubicBezTo>
                    <a:cubicBezTo>
                      <a:pt x="32" y="8"/>
                      <a:pt x="23" y="11"/>
                      <a:pt x="13" y="16"/>
                    </a:cubicBezTo>
                    <a:cubicBezTo>
                      <a:pt x="10" y="8"/>
                      <a:pt x="10" y="8"/>
                      <a:pt x="10" y="8"/>
                    </a:cubicBezTo>
                    <a:cubicBezTo>
                      <a:pt x="21" y="3"/>
                      <a:pt x="31" y="0"/>
                      <a:pt x="42" y="0"/>
                    </a:cubicBezTo>
                    <a:cubicBezTo>
                      <a:pt x="53" y="0"/>
                      <a:pt x="61" y="3"/>
                      <a:pt x="66" y="9"/>
                    </a:cubicBezTo>
                    <a:cubicBezTo>
                      <a:pt x="71" y="14"/>
                      <a:pt x="74" y="23"/>
                      <a:pt x="74" y="35"/>
                    </a:cubicBezTo>
                    <a:cubicBezTo>
                      <a:pt x="74" y="101"/>
                      <a:pt x="74" y="101"/>
                      <a:pt x="74" y="101"/>
                    </a:cubicBezTo>
                    <a:lnTo>
                      <a:pt x="68" y="101"/>
                    </a:lnTo>
                    <a:close/>
                    <a:moveTo>
                      <a:pt x="31" y="94"/>
                    </a:moveTo>
                    <a:cubicBezTo>
                      <a:pt x="42" y="94"/>
                      <a:pt x="50" y="91"/>
                      <a:pt x="56" y="85"/>
                    </a:cubicBezTo>
                    <a:cubicBezTo>
                      <a:pt x="62" y="79"/>
                      <a:pt x="65" y="71"/>
                      <a:pt x="65" y="60"/>
                    </a:cubicBezTo>
                    <a:cubicBezTo>
                      <a:pt x="65" y="50"/>
                      <a:pt x="65" y="50"/>
                      <a:pt x="65" y="50"/>
                    </a:cubicBezTo>
                    <a:cubicBezTo>
                      <a:pt x="48" y="51"/>
                      <a:pt x="48" y="51"/>
                      <a:pt x="48" y="51"/>
                    </a:cubicBezTo>
                    <a:cubicBezTo>
                      <a:pt x="34" y="52"/>
                      <a:pt x="24" y="54"/>
                      <a:pt x="18" y="58"/>
                    </a:cubicBezTo>
                    <a:cubicBezTo>
                      <a:pt x="12" y="61"/>
                      <a:pt x="9" y="67"/>
                      <a:pt x="9" y="75"/>
                    </a:cubicBezTo>
                    <a:cubicBezTo>
                      <a:pt x="9" y="81"/>
                      <a:pt x="11" y="86"/>
                      <a:pt x="15" y="89"/>
                    </a:cubicBezTo>
                    <a:cubicBezTo>
                      <a:pt x="19" y="93"/>
                      <a:pt x="24" y="94"/>
                      <a:pt x="31" y="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845"/>
              <p:cNvSpPr>
                <a:spLocks/>
              </p:cNvSpPr>
              <p:nvPr/>
            </p:nvSpPr>
            <p:spPr bwMode="auto">
              <a:xfrm>
                <a:off x="5196276" y="4473396"/>
                <a:ext cx="97673" cy="141489"/>
              </a:xfrm>
              <a:custGeom>
                <a:avLst/>
                <a:gdLst>
                  <a:gd name="T0" fmla="*/ 45 w 71"/>
                  <a:gd name="T1" fmla="*/ 102 h 102"/>
                  <a:gd name="T2" fmla="*/ 12 w 71"/>
                  <a:gd name="T3" fmla="*/ 89 h 102"/>
                  <a:gd name="T4" fmla="*/ 0 w 71"/>
                  <a:gd name="T5" fmla="*/ 52 h 102"/>
                  <a:gd name="T6" fmla="*/ 12 w 71"/>
                  <a:gd name="T7" fmla="*/ 14 h 102"/>
                  <a:gd name="T8" fmla="*/ 46 w 71"/>
                  <a:gd name="T9" fmla="*/ 0 h 102"/>
                  <a:gd name="T10" fmla="*/ 71 w 71"/>
                  <a:gd name="T11" fmla="*/ 4 h 102"/>
                  <a:gd name="T12" fmla="*/ 68 w 71"/>
                  <a:gd name="T13" fmla="*/ 12 h 102"/>
                  <a:gd name="T14" fmla="*/ 46 w 71"/>
                  <a:gd name="T15" fmla="*/ 8 h 102"/>
                  <a:gd name="T16" fmla="*/ 19 w 71"/>
                  <a:gd name="T17" fmla="*/ 19 h 102"/>
                  <a:gd name="T18" fmla="*/ 9 w 71"/>
                  <a:gd name="T19" fmla="*/ 52 h 102"/>
                  <a:gd name="T20" fmla="*/ 19 w 71"/>
                  <a:gd name="T21" fmla="*/ 83 h 102"/>
                  <a:gd name="T22" fmla="*/ 45 w 71"/>
                  <a:gd name="T23" fmla="*/ 94 h 102"/>
                  <a:gd name="T24" fmla="*/ 70 w 71"/>
                  <a:gd name="T25" fmla="*/ 89 h 102"/>
                  <a:gd name="T26" fmla="*/ 70 w 71"/>
                  <a:gd name="T27" fmla="*/ 98 h 102"/>
                  <a:gd name="T28" fmla="*/ 45 w 71"/>
                  <a:gd name="T2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02">
                    <a:moveTo>
                      <a:pt x="45" y="102"/>
                    </a:moveTo>
                    <a:cubicBezTo>
                      <a:pt x="31" y="102"/>
                      <a:pt x="20" y="98"/>
                      <a:pt x="12" y="89"/>
                    </a:cubicBezTo>
                    <a:cubicBezTo>
                      <a:pt x="4" y="80"/>
                      <a:pt x="0" y="68"/>
                      <a:pt x="0" y="52"/>
                    </a:cubicBezTo>
                    <a:cubicBezTo>
                      <a:pt x="0" y="36"/>
                      <a:pt x="4" y="23"/>
                      <a:pt x="12" y="14"/>
                    </a:cubicBezTo>
                    <a:cubicBezTo>
                      <a:pt x="20" y="5"/>
                      <a:pt x="32" y="0"/>
                      <a:pt x="46" y="0"/>
                    </a:cubicBezTo>
                    <a:cubicBezTo>
                      <a:pt x="55" y="0"/>
                      <a:pt x="63" y="1"/>
                      <a:pt x="71" y="4"/>
                    </a:cubicBezTo>
                    <a:cubicBezTo>
                      <a:pt x="68" y="12"/>
                      <a:pt x="68" y="12"/>
                      <a:pt x="68" y="12"/>
                    </a:cubicBezTo>
                    <a:cubicBezTo>
                      <a:pt x="60" y="10"/>
                      <a:pt x="52" y="8"/>
                      <a:pt x="46" y="8"/>
                    </a:cubicBezTo>
                    <a:cubicBezTo>
                      <a:pt x="34" y="8"/>
                      <a:pt x="25" y="12"/>
                      <a:pt x="19" y="19"/>
                    </a:cubicBezTo>
                    <a:cubicBezTo>
                      <a:pt x="12" y="27"/>
                      <a:pt x="9" y="38"/>
                      <a:pt x="9" y="52"/>
                    </a:cubicBezTo>
                    <a:cubicBezTo>
                      <a:pt x="9" y="65"/>
                      <a:pt x="12" y="75"/>
                      <a:pt x="19" y="83"/>
                    </a:cubicBezTo>
                    <a:cubicBezTo>
                      <a:pt x="25" y="90"/>
                      <a:pt x="33" y="94"/>
                      <a:pt x="45" y="94"/>
                    </a:cubicBezTo>
                    <a:cubicBezTo>
                      <a:pt x="54" y="94"/>
                      <a:pt x="62" y="93"/>
                      <a:pt x="70" y="89"/>
                    </a:cubicBezTo>
                    <a:cubicBezTo>
                      <a:pt x="70" y="98"/>
                      <a:pt x="70" y="98"/>
                      <a:pt x="70" y="98"/>
                    </a:cubicBezTo>
                    <a:cubicBezTo>
                      <a:pt x="63" y="101"/>
                      <a:pt x="55" y="102"/>
                      <a:pt x="45" y="102"/>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846"/>
              <p:cNvSpPr>
                <a:spLocks/>
              </p:cNvSpPr>
              <p:nvPr/>
            </p:nvSpPr>
            <p:spPr bwMode="auto">
              <a:xfrm>
                <a:off x="5299425" y="4443273"/>
                <a:ext cx="76678" cy="171612"/>
              </a:xfrm>
              <a:custGeom>
                <a:avLst/>
                <a:gdLst>
                  <a:gd name="T0" fmla="*/ 40 w 55"/>
                  <a:gd name="T1" fmla="*/ 116 h 124"/>
                  <a:gd name="T2" fmla="*/ 55 w 55"/>
                  <a:gd name="T3" fmla="*/ 115 h 124"/>
                  <a:gd name="T4" fmla="*/ 55 w 55"/>
                  <a:gd name="T5" fmla="*/ 122 h 124"/>
                  <a:gd name="T6" fmla="*/ 40 w 55"/>
                  <a:gd name="T7" fmla="*/ 124 h 124"/>
                  <a:gd name="T8" fmla="*/ 21 w 55"/>
                  <a:gd name="T9" fmla="*/ 117 h 124"/>
                  <a:gd name="T10" fmla="*/ 14 w 55"/>
                  <a:gd name="T11" fmla="*/ 95 h 124"/>
                  <a:gd name="T12" fmla="*/ 14 w 55"/>
                  <a:gd name="T13" fmla="*/ 32 h 124"/>
                  <a:gd name="T14" fmla="*/ 0 w 55"/>
                  <a:gd name="T15" fmla="*/ 32 h 124"/>
                  <a:gd name="T16" fmla="*/ 0 w 55"/>
                  <a:gd name="T17" fmla="*/ 26 h 124"/>
                  <a:gd name="T18" fmla="*/ 14 w 55"/>
                  <a:gd name="T19" fmla="*/ 22 h 124"/>
                  <a:gd name="T20" fmla="*/ 19 w 55"/>
                  <a:gd name="T21" fmla="*/ 0 h 124"/>
                  <a:gd name="T22" fmla="*/ 24 w 55"/>
                  <a:gd name="T23" fmla="*/ 0 h 124"/>
                  <a:gd name="T24" fmla="*/ 24 w 55"/>
                  <a:gd name="T25" fmla="*/ 24 h 124"/>
                  <a:gd name="T26" fmla="*/ 53 w 55"/>
                  <a:gd name="T27" fmla="*/ 24 h 124"/>
                  <a:gd name="T28" fmla="*/ 53 w 55"/>
                  <a:gd name="T29" fmla="*/ 32 h 124"/>
                  <a:gd name="T30" fmla="*/ 24 w 55"/>
                  <a:gd name="T31" fmla="*/ 32 h 124"/>
                  <a:gd name="T32" fmla="*/ 24 w 55"/>
                  <a:gd name="T33" fmla="*/ 94 h 124"/>
                  <a:gd name="T34" fmla="*/ 28 w 55"/>
                  <a:gd name="T35" fmla="*/ 111 h 124"/>
                  <a:gd name="T36" fmla="*/ 40 w 55"/>
                  <a:gd name="T3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124">
                    <a:moveTo>
                      <a:pt x="40" y="116"/>
                    </a:moveTo>
                    <a:cubicBezTo>
                      <a:pt x="46" y="116"/>
                      <a:pt x="51" y="116"/>
                      <a:pt x="55" y="115"/>
                    </a:cubicBezTo>
                    <a:cubicBezTo>
                      <a:pt x="55" y="122"/>
                      <a:pt x="55" y="122"/>
                      <a:pt x="55" y="122"/>
                    </a:cubicBezTo>
                    <a:cubicBezTo>
                      <a:pt x="51" y="124"/>
                      <a:pt x="46" y="124"/>
                      <a:pt x="40" y="124"/>
                    </a:cubicBezTo>
                    <a:cubicBezTo>
                      <a:pt x="31" y="124"/>
                      <a:pt x="25" y="122"/>
                      <a:pt x="21" y="117"/>
                    </a:cubicBezTo>
                    <a:cubicBezTo>
                      <a:pt x="17" y="113"/>
                      <a:pt x="14" y="105"/>
                      <a:pt x="14" y="95"/>
                    </a:cubicBezTo>
                    <a:cubicBezTo>
                      <a:pt x="14" y="32"/>
                      <a:pt x="14" y="32"/>
                      <a:pt x="14" y="32"/>
                    </a:cubicBezTo>
                    <a:cubicBezTo>
                      <a:pt x="0" y="32"/>
                      <a:pt x="0" y="32"/>
                      <a:pt x="0" y="32"/>
                    </a:cubicBezTo>
                    <a:cubicBezTo>
                      <a:pt x="0" y="26"/>
                      <a:pt x="0" y="26"/>
                      <a:pt x="0" y="26"/>
                    </a:cubicBezTo>
                    <a:cubicBezTo>
                      <a:pt x="14" y="22"/>
                      <a:pt x="14" y="22"/>
                      <a:pt x="14" y="22"/>
                    </a:cubicBezTo>
                    <a:cubicBezTo>
                      <a:pt x="19" y="0"/>
                      <a:pt x="19" y="0"/>
                      <a:pt x="19" y="0"/>
                    </a:cubicBezTo>
                    <a:cubicBezTo>
                      <a:pt x="24" y="0"/>
                      <a:pt x="24" y="0"/>
                      <a:pt x="24" y="0"/>
                    </a:cubicBezTo>
                    <a:cubicBezTo>
                      <a:pt x="24" y="24"/>
                      <a:pt x="24" y="24"/>
                      <a:pt x="24" y="24"/>
                    </a:cubicBezTo>
                    <a:cubicBezTo>
                      <a:pt x="53" y="24"/>
                      <a:pt x="53" y="24"/>
                      <a:pt x="53" y="24"/>
                    </a:cubicBezTo>
                    <a:cubicBezTo>
                      <a:pt x="53" y="32"/>
                      <a:pt x="53" y="32"/>
                      <a:pt x="53" y="32"/>
                    </a:cubicBezTo>
                    <a:cubicBezTo>
                      <a:pt x="24" y="32"/>
                      <a:pt x="24" y="32"/>
                      <a:pt x="24" y="32"/>
                    </a:cubicBezTo>
                    <a:cubicBezTo>
                      <a:pt x="24" y="94"/>
                      <a:pt x="24" y="94"/>
                      <a:pt x="24" y="94"/>
                    </a:cubicBezTo>
                    <a:cubicBezTo>
                      <a:pt x="24" y="102"/>
                      <a:pt x="25" y="107"/>
                      <a:pt x="28" y="111"/>
                    </a:cubicBezTo>
                    <a:cubicBezTo>
                      <a:pt x="30" y="115"/>
                      <a:pt x="34" y="116"/>
                      <a:pt x="40" y="116"/>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847"/>
              <p:cNvSpPr>
                <a:spLocks noChangeArrowheads="1"/>
              </p:cNvSpPr>
              <p:nvPr/>
            </p:nvSpPr>
            <p:spPr bwMode="auto">
              <a:xfrm>
                <a:off x="5396185" y="4591151"/>
                <a:ext cx="20995" cy="2373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1" name="Group 200"/>
            <p:cNvGrpSpPr/>
            <p:nvPr/>
          </p:nvGrpSpPr>
          <p:grpSpPr>
            <a:xfrm>
              <a:off x="316288" y="2835779"/>
              <a:ext cx="2473768" cy="2132371"/>
              <a:chOff x="316288" y="2835779"/>
              <a:chExt cx="2473768" cy="2132371"/>
            </a:xfrm>
          </p:grpSpPr>
          <p:sp>
            <p:nvSpPr>
              <p:cNvPr id="202" name="Oval 797"/>
              <p:cNvSpPr>
                <a:spLocks noChangeArrowheads="1"/>
              </p:cNvSpPr>
              <p:nvPr/>
            </p:nvSpPr>
            <p:spPr bwMode="auto">
              <a:xfrm>
                <a:off x="408484" y="2835779"/>
                <a:ext cx="2107724" cy="210955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798"/>
              <p:cNvSpPr>
                <a:spLocks noEditPoints="1"/>
              </p:cNvSpPr>
              <p:nvPr/>
            </p:nvSpPr>
            <p:spPr bwMode="auto">
              <a:xfrm>
                <a:off x="754446" y="3408123"/>
                <a:ext cx="1415799" cy="886358"/>
              </a:xfrm>
              <a:custGeom>
                <a:avLst/>
                <a:gdLst>
                  <a:gd name="T0" fmla="*/ 1016 w 1551"/>
                  <a:gd name="T1" fmla="*/ 0 h 971"/>
                  <a:gd name="T2" fmla="*/ 434 w 1551"/>
                  <a:gd name="T3" fmla="*/ 47 h 971"/>
                  <a:gd name="T4" fmla="*/ 0 w 1551"/>
                  <a:gd name="T5" fmla="*/ 193 h 971"/>
                  <a:gd name="T6" fmla="*/ 0 w 1551"/>
                  <a:gd name="T7" fmla="*/ 778 h 971"/>
                  <a:gd name="T8" fmla="*/ 434 w 1551"/>
                  <a:gd name="T9" fmla="*/ 924 h 971"/>
                  <a:gd name="T10" fmla="*/ 1016 w 1551"/>
                  <a:gd name="T11" fmla="*/ 971 h 971"/>
                  <a:gd name="T12" fmla="*/ 1506 w 1551"/>
                  <a:gd name="T13" fmla="*/ 920 h 971"/>
                  <a:gd name="T14" fmla="*/ 1506 w 1551"/>
                  <a:gd name="T15" fmla="*/ 294 h 971"/>
                  <a:gd name="T16" fmla="*/ 584 w 1551"/>
                  <a:gd name="T17" fmla="*/ 531 h 971"/>
                  <a:gd name="T18" fmla="*/ 1069 w 1551"/>
                  <a:gd name="T19" fmla="*/ 531 h 971"/>
                  <a:gd name="T20" fmla="*/ 676 w 1551"/>
                  <a:gd name="T21" fmla="*/ 391 h 971"/>
                  <a:gd name="T22" fmla="*/ 487 w 1551"/>
                  <a:gd name="T23" fmla="*/ 580 h 971"/>
                  <a:gd name="T24" fmla="*/ 972 w 1551"/>
                  <a:gd name="T25" fmla="*/ 580 h 971"/>
                  <a:gd name="T26" fmla="*/ 1016 w 1551"/>
                  <a:gd name="T27" fmla="*/ 343 h 971"/>
                  <a:gd name="T28" fmla="*/ 531 w 1551"/>
                  <a:gd name="T29" fmla="*/ 343 h 971"/>
                  <a:gd name="T30" fmla="*/ 438 w 1551"/>
                  <a:gd name="T31" fmla="*/ 628 h 971"/>
                  <a:gd name="T32" fmla="*/ 924 w 1551"/>
                  <a:gd name="T33" fmla="*/ 628 h 971"/>
                  <a:gd name="T34" fmla="*/ 1210 w 1551"/>
                  <a:gd name="T35" fmla="*/ 387 h 971"/>
                  <a:gd name="T36" fmla="*/ 822 w 1551"/>
                  <a:gd name="T37" fmla="*/ 294 h 971"/>
                  <a:gd name="T38" fmla="*/ 337 w 1551"/>
                  <a:gd name="T39" fmla="*/ 294 h 971"/>
                  <a:gd name="T40" fmla="*/ 438 w 1551"/>
                  <a:gd name="T41" fmla="*/ 677 h 971"/>
                  <a:gd name="T42" fmla="*/ 924 w 1551"/>
                  <a:gd name="T43" fmla="*/ 677 h 971"/>
                  <a:gd name="T44" fmla="*/ 1259 w 1551"/>
                  <a:gd name="T45" fmla="*/ 531 h 971"/>
                  <a:gd name="T46" fmla="*/ 1016 w 1551"/>
                  <a:gd name="T47" fmla="*/ 246 h 971"/>
                  <a:gd name="T48" fmla="*/ 531 w 1551"/>
                  <a:gd name="T49" fmla="*/ 246 h 971"/>
                  <a:gd name="T50" fmla="*/ 246 w 1551"/>
                  <a:gd name="T51" fmla="*/ 440 h 971"/>
                  <a:gd name="T52" fmla="*/ 487 w 1551"/>
                  <a:gd name="T53" fmla="*/ 725 h 971"/>
                  <a:gd name="T54" fmla="*/ 972 w 1551"/>
                  <a:gd name="T55" fmla="*/ 725 h 971"/>
                  <a:gd name="T56" fmla="*/ 1307 w 1551"/>
                  <a:gd name="T57" fmla="*/ 580 h 971"/>
                  <a:gd name="T58" fmla="*/ 1162 w 1551"/>
                  <a:gd name="T59" fmla="*/ 197 h 971"/>
                  <a:gd name="T60" fmla="*/ 676 w 1551"/>
                  <a:gd name="T61" fmla="*/ 197 h 971"/>
                  <a:gd name="T62" fmla="*/ 240 w 1551"/>
                  <a:gd name="T63" fmla="*/ 197 h 971"/>
                  <a:gd name="T64" fmla="*/ 197 w 1551"/>
                  <a:gd name="T65" fmla="*/ 683 h 971"/>
                  <a:gd name="T66" fmla="*/ 584 w 1551"/>
                  <a:gd name="T67" fmla="*/ 774 h 971"/>
                  <a:gd name="T68" fmla="*/ 1069 w 1551"/>
                  <a:gd name="T69" fmla="*/ 774 h 971"/>
                  <a:gd name="T70" fmla="*/ 1354 w 1551"/>
                  <a:gd name="T71" fmla="*/ 580 h 971"/>
                  <a:gd name="T72" fmla="*/ 1259 w 1551"/>
                  <a:gd name="T73" fmla="*/ 149 h 971"/>
                  <a:gd name="T74" fmla="*/ 822 w 1551"/>
                  <a:gd name="T75" fmla="*/ 149 h 971"/>
                  <a:gd name="T76" fmla="*/ 337 w 1551"/>
                  <a:gd name="T77" fmla="*/ 149 h 971"/>
                  <a:gd name="T78" fmla="*/ 149 w 1551"/>
                  <a:gd name="T79" fmla="*/ 440 h 971"/>
                  <a:gd name="T80" fmla="*/ 293 w 1551"/>
                  <a:gd name="T81" fmla="*/ 822 h 971"/>
                  <a:gd name="T82" fmla="*/ 729 w 1551"/>
                  <a:gd name="T83" fmla="*/ 822 h 971"/>
                  <a:gd name="T84" fmla="*/ 1215 w 1551"/>
                  <a:gd name="T85" fmla="*/ 822 h 971"/>
                  <a:gd name="T86" fmla="*/ 1403 w 1551"/>
                  <a:gd name="T87" fmla="*/ 531 h 971"/>
                  <a:gd name="T88" fmla="*/ 1307 w 1551"/>
                  <a:gd name="T89" fmla="*/ 100 h 971"/>
                  <a:gd name="T90" fmla="*/ 870 w 1551"/>
                  <a:gd name="T91" fmla="*/ 100 h 971"/>
                  <a:gd name="T92" fmla="*/ 385 w 1551"/>
                  <a:gd name="T93" fmla="*/ 100 h 971"/>
                  <a:gd name="T94" fmla="*/ 100 w 1551"/>
                  <a:gd name="T95" fmla="*/ 294 h 971"/>
                  <a:gd name="T96" fmla="*/ 100 w 1551"/>
                  <a:gd name="T97" fmla="*/ 778 h 971"/>
                  <a:gd name="T98" fmla="*/ 487 w 1551"/>
                  <a:gd name="T99" fmla="*/ 871 h 971"/>
                  <a:gd name="T100" fmla="*/ 972 w 1551"/>
                  <a:gd name="T101" fmla="*/ 871 h 971"/>
                  <a:gd name="T102" fmla="*/ 1409 w 1551"/>
                  <a:gd name="T103" fmla="*/ 871 h 971"/>
                  <a:gd name="T104" fmla="*/ 1451 w 1551"/>
                  <a:gd name="T105" fmla="*/ 387 h 971"/>
                  <a:gd name="T106" fmla="*/ 1215 w 1551"/>
                  <a:gd name="T107" fmla="*/ 51 h 971"/>
                  <a:gd name="T108" fmla="*/ 729 w 1551"/>
                  <a:gd name="T109" fmla="*/ 51 h 971"/>
                  <a:gd name="T110" fmla="*/ 293 w 1551"/>
                  <a:gd name="T111" fmla="*/ 51 h 971"/>
                  <a:gd name="T112" fmla="*/ 52 w 1551"/>
                  <a:gd name="T113" fmla="*/ 290 h 971"/>
                  <a:gd name="T114" fmla="*/ 52 w 1551"/>
                  <a:gd name="T115" fmla="*/ 774 h 971"/>
                  <a:gd name="T116" fmla="*/ 385 w 1551"/>
                  <a:gd name="T117" fmla="*/ 920 h 971"/>
                  <a:gd name="T118" fmla="*/ 870 w 1551"/>
                  <a:gd name="T119" fmla="*/ 920 h 971"/>
                  <a:gd name="T120" fmla="*/ 1307 w 1551"/>
                  <a:gd name="T121" fmla="*/ 920 h 971"/>
                  <a:gd name="T122" fmla="*/ 1500 w 1551"/>
                  <a:gd name="T123" fmla="*/ 634 h 971"/>
                  <a:gd name="T124" fmla="*/ 1500 w 1551"/>
                  <a:gd name="T125" fmla="*/ 14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1" h="971">
                    <a:moveTo>
                      <a:pt x="1551" y="51"/>
                    </a:moveTo>
                    <a:lnTo>
                      <a:pt x="1551" y="47"/>
                    </a:lnTo>
                    <a:lnTo>
                      <a:pt x="1506" y="47"/>
                    </a:lnTo>
                    <a:lnTo>
                      <a:pt x="1506" y="0"/>
                    </a:lnTo>
                    <a:lnTo>
                      <a:pt x="1500" y="0"/>
                    </a:lnTo>
                    <a:lnTo>
                      <a:pt x="1500" y="47"/>
                    </a:lnTo>
                    <a:lnTo>
                      <a:pt x="1457" y="47"/>
                    </a:lnTo>
                    <a:lnTo>
                      <a:pt x="1457" y="0"/>
                    </a:lnTo>
                    <a:lnTo>
                      <a:pt x="1451" y="0"/>
                    </a:lnTo>
                    <a:lnTo>
                      <a:pt x="1451" y="47"/>
                    </a:lnTo>
                    <a:lnTo>
                      <a:pt x="1409" y="47"/>
                    </a:lnTo>
                    <a:lnTo>
                      <a:pt x="1409" y="0"/>
                    </a:lnTo>
                    <a:lnTo>
                      <a:pt x="1403" y="0"/>
                    </a:lnTo>
                    <a:lnTo>
                      <a:pt x="1403" y="47"/>
                    </a:lnTo>
                    <a:lnTo>
                      <a:pt x="1360" y="47"/>
                    </a:lnTo>
                    <a:lnTo>
                      <a:pt x="1360" y="0"/>
                    </a:lnTo>
                    <a:lnTo>
                      <a:pt x="1354" y="0"/>
                    </a:lnTo>
                    <a:lnTo>
                      <a:pt x="1354" y="47"/>
                    </a:lnTo>
                    <a:lnTo>
                      <a:pt x="1312" y="47"/>
                    </a:lnTo>
                    <a:lnTo>
                      <a:pt x="1312" y="0"/>
                    </a:lnTo>
                    <a:lnTo>
                      <a:pt x="1307" y="0"/>
                    </a:lnTo>
                    <a:lnTo>
                      <a:pt x="1307" y="47"/>
                    </a:lnTo>
                    <a:lnTo>
                      <a:pt x="1263" y="47"/>
                    </a:lnTo>
                    <a:lnTo>
                      <a:pt x="1263" y="0"/>
                    </a:lnTo>
                    <a:lnTo>
                      <a:pt x="1259" y="0"/>
                    </a:lnTo>
                    <a:lnTo>
                      <a:pt x="1259" y="47"/>
                    </a:lnTo>
                    <a:lnTo>
                      <a:pt x="1215" y="47"/>
                    </a:lnTo>
                    <a:lnTo>
                      <a:pt x="1215" y="0"/>
                    </a:lnTo>
                    <a:lnTo>
                      <a:pt x="1210" y="0"/>
                    </a:lnTo>
                    <a:lnTo>
                      <a:pt x="1210" y="47"/>
                    </a:lnTo>
                    <a:lnTo>
                      <a:pt x="1166" y="47"/>
                    </a:lnTo>
                    <a:lnTo>
                      <a:pt x="1166" y="0"/>
                    </a:lnTo>
                    <a:lnTo>
                      <a:pt x="1162" y="0"/>
                    </a:lnTo>
                    <a:lnTo>
                      <a:pt x="1162" y="47"/>
                    </a:lnTo>
                    <a:lnTo>
                      <a:pt x="1118" y="47"/>
                    </a:lnTo>
                    <a:lnTo>
                      <a:pt x="1118" y="0"/>
                    </a:lnTo>
                    <a:lnTo>
                      <a:pt x="1113" y="0"/>
                    </a:lnTo>
                    <a:lnTo>
                      <a:pt x="1113" y="47"/>
                    </a:lnTo>
                    <a:lnTo>
                      <a:pt x="1069" y="47"/>
                    </a:lnTo>
                    <a:lnTo>
                      <a:pt x="1069" y="0"/>
                    </a:lnTo>
                    <a:lnTo>
                      <a:pt x="1065" y="0"/>
                    </a:lnTo>
                    <a:lnTo>
                      <a:pt x="1065" y="47"/>
                    </a:lnTo>
                    <a:lnTo>
                      <a:pt x="1021" y="47"/>
                    </a:lnTo>
                    <a:lnTo>
                      <a:pt x="1021" y="0"/>
                    </a:lnTo>
                    <a:lnTo>
                      <a:pt x="1016" y="0"/>
                    </a:lnTo>
                    <a:lnTo>
                      <a:pt x="1016" y="47"/>
                    </a:lnTo>
                    <a:lnTo>
                      <a:pt x="972" y="47"/>
                    </a:lnTo>
                    <a:lnTo>
                      <a:pt x="972" y="0"/>
                    </a:lnTo>
                    <a:lnTo>
                      <a:pt x="967" y="0"/>
                    </a:lnTo>
                    <a:lnTo>
                      <a:pt x="967" y="47"/>
                    </a:lnTo>
                    <a:lnTo>
                      <a:pt x="924" y="47"/>
                    </a:lnTo>
                    <a:lnTo>
                      <a:pt x="924" y="0"/>
                    </a:lnTo>
                    <a:lnTo>
                      <a:pt x="919" y="0"/>
                    </a:lnTo>
                    <a:lnTo>
                      <a:pt x="919" y="47"/>
                    </a:lnTo>
                    <a:lnTo>
                      <a:pt x="875" y="47"/>
                    </a:lnTo>
                    <a:lnTo>
                      <a:pt x="875" y="0"/>
                    </a:lnTo>
                    <a:lnTo>
                      <a:pt x="870" y="0"/>
                    </a:lnTo>
                    <a:lnTo>
                      <a:pt x="870" y="47"/>
                    </a:lnTo>
                    <a:lnTo>
                      <a:pt x="826" y="47"/>
                    </a:lnTo>
                    <a:lnTo>
                      <a:pt x="826" y="0"/>
                    </a:lnTo>
                    <a:lnTo>
                      <a:pt x="822" y="0"/>
                    </a:lnTo>
                    <a:lnTo>
                      <a:pt x="822" y="47"/>
                    </a:lnTo>
                    <a:lnTo>
                      <a:pt x="729" y="47"/>
                    </a:lnTo>
                    <a:lnTo>
                      <a:pt x="729" y="0"/>
                    </a:lnTo>
                    <a:lnTo>
                      <a:pt x="725" y="0"/>
                    </a:lnTo>
                    <a:lnTo>
                      <a:pt x="725" y="47"/>
                    </a:lnTo>
                    <a:lnTo>
                      <a:pt x="681" y="47"/>
                    </a:lnTo>
                    <a:lnTo>
                      <a:pt x="681" y="0"/>
                    </a:lnTo>
                    <a:lnTo>
                      <a:pt x="676" y="0"/>
                    </a:lnTo>
                    <a:lnTo>
                      <a:pt x="676" y="47"/>
                    </a:lnTo>
                    <a:lnTo>
                      <a:pt x="632" y="47"/>
                    </a:lnTo>
                    <a:lnTo>
                      <a:pt x="632" y="0"/>
                    </a:lnTo>
                    <a:lnTo>
                      <a:pt x="628" y="0"/>
                    </a:lnTo>
                    <a:lnTo>
                      <a:pt x="628" y="47"/>
                    </a:lnTo>
                    <a:lnTo>
                      <a:pt x="584" y="47"/>
                    </a:lnTo>
                    <a:lnTo>
                      <a:pt x="584" y="0"/>
                    </a:lnTo>
                    <a:lnTo>
                      <a:pt x="579" y="0"/>
                    </a:lnTo>
                    <a:lnTo>
                      <a:pt x="579" y="47"/>
                    </a:lnTo>
                    <a:lnTo>
                      <a:pt x="535" y="47"/>
                    </a:lnTo>
                    <a:lnTo>
                      <a:pt x="535" y="0"/>
                    </a:lnTo>
                    <a:lnTo>
                      <a:pt x="531" y="0"/>
                    </a:lnTo>
                    <a:lnTo>
                      <a:pt x="531" y="47"/>
                    </a:lnTo>
                    <a:lnTo>
                      <a:pt x="487" y="47"/>
                    </a:lnTo>
                    <a:lnTo>
                      <a:pt x="487" y="0"/>
                    </a:lnTo>
                    <a:lnTo>
                      <a:pt x="482" y="0"/>
                    </a:lnTo>
                    <a:lnTo>
                      <a:pt x="482" y="47"/>
                    </a:lnTo>
                    <a:lnTo>
                      <a:pt x="438" y="47"/>
                    </a:lnTo>
                    <a:lnTo>
                      <a:pt x="438" y="0"/>
                    </a:lnTo>
                    <a:lnTo>
                      <a:pt x="434" y="0"/>
                    </a:lnTo>
                    <a:lnTo>
                      <a:pt x="434" y="47"/>
                    </a:lnTo>
                    <a:lnTo>
                      <a:pt x="390" y="47"/>
                    </a:lnTo>
                    <a:lnTo>
                      <a:pt x="390" y="0"/>
                    </a:lnTo>
                    <a:lnTo>
                      <a:pt x="385" y="0"/>
                    </a:lnTo>
                    <a:lnTo>
                      <a:pt x="385" y="47"/>
                    </a:lnTo>
                    <a:lnTo>
                      <a:pt x="341" y="47"/>
                    </a:lnTo>
                    <a:lnTo>
                      <a:pt x="341" y="0"/>
                    </a:lnTo>
                    <a:lnTo>
                      <a:pt x="337" y="0"/>
                    </a:lnTo>
                    <a:lnTo>
                      <a:pt x="337" y="47"/>
                    </a:lnTo>
                    <a:lnTo>
                      <a:pt x="293" y="47"/>
                    </a:lnTo>
                    <a:lnTo>
                      <a:pt x="293" y="0"/>
                    </a:lnTo>
                    <a:lnTo>
                      <a:pt x="288" y="0"/>
                    </a:lnTo>
                    <a:lnTo>
                      <a:pt x="288" y="47"/>
                    </a:lnTo>
                    <a:lnTo>
                      <a:pt x="246" y="47"/>
                    </a:lnTo>
                    <a:lnTo>
                      <a:pt x="246" y="0"/>
                    </a:lnTo>
                    <a:lnTo>
                      <a:pt x="240" y="0"/>
                    </a:lnTo>
                    <a:lnTo>
                      <a:pt x="240" y="47"/>
                    </a:lnTo>
                    <a:lnTo>
                      <a:pt x="197" y="47"/>
                    </a:lnTo>
                    <a:lnTo>
                      <a:pt x="197" y="0"/>
                    </a:lnTo>
                    <a:lnTo>
                      <a:pt x="191" y="0"/>
                    </a:lnTo>
                    <a:lnTo>
                      <a:pt x="191" y="47"/>
                    </a:lnTo>
                    <a:lnTo>
                      <a:pt x="149" y="47"/>
                    </a:lnTo>
                    <a:lnTo>
                      <a:pt x="149" y="0"/>
                    </a:lnTo>
                    <a:lnTo>
                      <a:pt x="143" y="0"/>
                    </a:lnTo>
                    <a:lnTo>
                      <a:pt x="143" y="47"/>
                    </a:lnTo>
                    <a:lnTo>
                      <a:pt x="100" y="47"/>
                    </a:lnTo>
                    <a:lnTo>
                      <a:pt x="100" y="0"/>
                    </a:lnTo>
                    <a:lnTo>
                      <a:pt x="94" y="0"/>
                    </a:lnTo>
                    <a:lnTo>
                      <a:pt x="94" y="47"/>
                    </a:lnTo>
                    <a:lnTo>
                      <a:pt x="52" y="47"/>
                    </a:lnTo>
                    <a:lnTo>
                      <a:pt x="52" y="0"/>
                    </a:lnTo>
                    <a:lnTo>
                      <a:pt x="46" y="0"/>
                    </a:lnTo>
                    <a:lnTo>
                      <a:pt x="46" y="47"/>
                    </a:lnTo>
                    <a:lnTo>
                      <a:pt x="0" y="47"/>
                    </a:lnTo>
                    <a:lnTo>
                      <a:pt x="0" y="51"/>
                    </a:lnTo>
                    <a:lnTo>
                      <a:pt x="46" y="51"/>
                    </a:lnTo>
                    <a:lnTo>
                      <a:pt x="46" y="95"/>
                    </a:lnTo>
                    <a:lnTo>
                      <a:pt x="0" y="95"/>
                    </a:lnTo>
                    <a:lnTo>
                      <a:pt x="0" y="100"/>
                    </a:lnTo>
                    <a:lnTo>
                      <a:pt x="46" y="100"/>
                    </a:lnTo>
                    <a:lnTo>
                      <a:pt x="46" y="144"/>
                    </a:lnTo>
                    <a:lnTo>
                      <a:pt x="0" y="144"/>
                    </a:lnTo>
                    <a:lnTo>
                      <a:pt x="0" y="149"/>
                    </a:lnTo>
                    <a:lnTo>
                      <a:pt x="46" y="149"/>
                    </a:lnTo>
                    <a:lnTo>
                      <a:pt x="46" y="193"/>
                    </a:lnTo>
                    <a:lnTo>
                      <a:pt x="0" y="193"/>
                    </a:lnTo>
                    <a:lnTo>
                      <a:pt x="0" y="197"/>
                    </a:lnTo>
                    <a:lnTo>
                      <a:pt x="46" y="197"/>
                    </a:lnTo>
                    <a:lnTo>
                      <a:pt x="46" y="241"/>
                    </a:lnTo>
                    <a:lnTo>
                      <a:pt x="0" y="241"/>
                    </a:lnTo>
                    <a:lnTo>
                      <a:pt x="0" y="246"/>
                    </a:lnTo>
                    <a:lnTo>
                      <a:pt x="46" y="246"/>
                    </a:lnTo>
                    <a:lnTo>
                      <a:pt x="46" y="290"/>
                    </a:lnTo>
                    <a:lnTo>
                      <a:pt x="0" y="290"/>
                    </a:lnTo>
                    <a:lnTo>
                      <a:pt x="0" y="294"/>
                    </a:lnTo>
                    <a:lnTo>
                      <a:pt x="46" y="294"/>
                    </a:lnTo>
                    <a:lnTo>
                      <a:pt x="46" y="338"/>
                    </a:lnTo>
                    <a:lnTo>
                      <a:pt x="0" y="338"/>
                    </a:lnTo>
                    <a:lnTo>
                      <a:pt x="0" y="343"/>
                    </a:lnTo>
                    <a:lnTo>
                      <a:pt x="46" y="343"/>
                    </a:lnTo>
                    <a:lnTo>
                      <a:pt x="46" y="387"/>
                    </a:lnTo>
                    <a:lnTo>
                      <a:pt x="0" y="387"/>
                    </a:lnTo>
                    <a:lnTo>
                      <a:pt x="0" y="391"/>
                    </a:lnTo>
                    <a:lnTo>
                      <a:pt x="46" y="391"/>
                    </a:lnTo>
                    <a:lnTo>
                      <a:pt x="46" y="435"/>
                    </a:lnTo>
                    <a:lnTo>
                      <a:pt x="0" y="435"/>
                    </a:lnTo>
                    <a:lnTo>
                      <a:pt x="0" y="440"/>
                    </a:lnTo>
                    <a:lnTo>
                      <a:pt x="46" y="440"/>
                    </a:lnTo>
                    <a:lnTo>
                      <a:pt x="46" y="531"/>
                    </a:lnTo>
                    <a:lnTo>
                      <a:pt x="0" y="531"/>
                    </a:lnTo>
                    <a:lnTo>
                      <a:pt x="0" y="537"/>
                    </a:lnTo>
                    <a:lnTo>
                      <a:pt x="46" y="537"/>
                    </a:lnTo>
                    <a:lnTo>
                      <a:pt x="46" y="580"/>
                    </a:lnTo>
                    <a:lnTo>
                      <a:pt x="0" y="580"/>
                    </a:lnTo>
                    <a:lnTo>
                      <a:pt x="0" y="586"/>
                    </a:lnTo>
                    <a:lnTo>
                      <a:pt x="46" y="586"/>
                    </a:lnTo>
                    <a:lnTo>
                      <a:pt x="46" y="628"/>
                    </a:lnTo>
                    <a:lnTo>
                      <a:pt x="0" y="628"/>
                    </a:lnTo>
                    <a:lnTo>
                      <a:pt x="0" y="634"/>
                    </a:lnTo>
                    <a:lnTo>
                      <a:pt x="46" y="634"/>
                    </a:lnTo>
                    <a:lnTo>
                      <a:pt x="46" y="677"/>
                    </a:lnTo>
                    <a:lnTo>
                      <a:pt x="0" y="677"/>
                    </a:lnTo>
                    <a:lnTo>
                      <a:pt x="0" y="683"/>
                    </a:lnTo>
                    <a:lnTo>
                      <a:pt x="46" y="683"/>
                    </a:lnTo>
                    <a:lnTo>
                      <a:pt x="46" y="725"/>
                    </a:lnTo>
                    <a:lnTo>
                      <a:pt x="0" y="725"/>
                    </a:lnTo>
                    <a:lnTo>
                      <a:pt x="0" y="730"/>
                    </a:lnTo>
                    <a:lnTo>
                      <a:pt x="46" y="730"/>
                    </a:lnTo>
                    <a:lnTo>
                      <a:pt x="46" y="774"/>
                    </a:lnTo>
                    <a:lnTo>
                      <a:pt x="0" y="774"/>
                    </a:lnTo>
                    <a:lnTo>
                      <a:pt x="0" y="778"/>
                    </a:lnTo>
                    <a:lnTo>
                      <a:pt x="46" y="778"/>
                    </a:lnTo>
                    <a:lnTo>
                      <a:pt x="46" y="822"/>
                    </a:lnTo>
                    <a:lnTo>
                      <a:pt x="0" y="822"/>
                    </a:lnTo>
                    <a:lnTo>
                      <a:pt x="0" y="827"/>
                    </a:lnTo>
                    <a:lnTo>
                      <a:pt x="46" y="827"/>
                    </a:lnTo>
                    <a:lnTo>
                      <a:pt x="46" y="871"/>
                    </a:lnTo>
                    <a:lnTo>
                      <a:pt x="0" y="871"/>
                    </a:lnTo>
                    <a:lnTo>
                      <a:pt x="0" y="876"/>
                    </a:lnTo>
                    <a:lnTo>
                      <a:pt x="46" y="876"/>
                    </a:lnTo>
                    <a:lnTo>
                      <a:pt x="46" y="920"/>
                    </a:lnTo>
                    <a:lnTo>
                      <a:pt x="0" y="920"/>
                    </a:lnTo>
                    <a:lnTo>
                      <a:pt x="0" y="924"/>
                    </a:lnTo>
                    <a:lnTo>
                      <a:pt x="46" y="924"/>
                    </a:lnTo>
                    <a:lnTo>
                      <a:pt x="46" y="971"/>
                    </a:lnTo>
                    <a:lnTo>
                      <a:pt x="52" y="971"/>
                    </a:lnTo>
                    <a:lnTo>
                      <a:pt x="52" y="924"/>
                    </a:lnTo>
                    <a:lnTo>
                      <a:pt x="94" y="924"/>
                    </a:lnTo>
                    <a:lnTo>
                      <a:pt x="94" y="971"/>
                    </a:lnTo>
                    <a:lnTo>
                      <a:pt x="100" y="971"/>
                    </a:lnTo>
                    <a:lnTo>
                      <a:pt x="100" y="924"/>
                    </a:lnTo>
                    <a:lnTo>
                      <a:pt x="143" y="924"/>
                    </a:lnTo>
                    <a:lnTo>
                      <a:pt x="143" y="971"/>
                    </a:lnTo>
                    <a:lnTo>
                      <a:pt x="149" y="971"/>
                    </a:lnTo>
                    <a:lnTo>
                      <a:pt x="149" y="924"/>
                    </a:lnTo>
                    <a:lnTo>
                      <a:pt x="191" y="924"/>
                    </a:lnTo>
                    <a:lnTo>
                      <a:pt x="191" y="971"/>
                    </a:lnTo>
                    <a:lnTo>
                      <a:pt x="197" y="971"/>
                    </a:lnTo>
                    <a:lnTo>
                      <a:pt x="197" y="924"/>
                    </a:lnTo>
                    <a:lnTo>
                      <a:pt x="240" y="924"/>
                    </a:lnTo>
                    <a:lnTo>
                      <a:pt x="240" y="971"/>
                    </a:lnTo>
                    <a:lnTo>
                      <a:pt x="246" y="971"/>
                    </a:lnTo>
                    <a:lnTo>
                      <a:pt x="246" y="924"/>
                    </a:lnTo>
                    <a:lnTo>
                      <a:pt x="288" y="924"/>
                    </a:lnTo>
                    <a:lnTo>
                      <a:pt x="288" y="971"/>
                    </a:lnTo>
                    <a:lnTo>
                      <a:pt x="293" y="971"/>
                    </a:lnTo>
                    <a:lnTo>
                      <a:pt x="293" y="924"/>
                    </a:lnTo>
                    <a:lnTo>
                      <a:pt x="337" y="924"/>
                    </a:lnTo>
                    <a:lnTo>
                      <a:pt x="337" y="971"/>
                    </a:lnTo>
                    <a:lnTo>
                      <a:pt x="341" y="971"/>
                    </a:lnTo>
                    <a:lnTo>
                      <a:pt x="341" y="924"/>
                    </a:lnTo>
                    <a:lnTo>
                      <a:pt x="385" y="924"/>
                    </a:lnTo>
                    <a:lnTo>
                      <a:pt x="385" y="971"/>
                    </a:lnTo>
                    <a:lnTo>
                      <a:pt x="390" y="971"/>
                    </a:lnTo>
                    <a:lnTo>
                      <a:pt x="390" y="924"/>
                    </a:lnTo>
                    <a:lnTo>
                      <a:pt x="434" y="924"/>
                    </a:lnTo>
                    <a:lnTo>
                      <a:pt x="434" y="971"/>
                    </a:lnTo>
                    <a:lnTo>
                      <a:pt x="438" y="971"/>
                    </a:lnTo>
                    <a:lnTo>
                      <a:pt x="438" y="924"/>
                    </a:lnTo>
                    <a:lnTo>
                      <a:pt x="482" y="924"/>
                    </a:lnTo>
                    <a:lnTo>
                      <a:pt x="482" y="971"/>
                    </a:lnTo>
                    <a:lnTo>
                      <a:pt x="487" y="971"/>
                    </a:lnTo>
                    <a:lnTo>
                      <a:pt x="487" y="924"/>
                    </a:lnTo>
                    <a:lnTo>
                      <a:pt x="531" y="924"/>
                    </a:lnTo>
                    <a:lnTo>
                      <a:pt x="531" y="971"/>
                    </a:lnTo>
                    <a:lnTo>
                      <a:pt x="535" y="971"/>
                    </a:lnTo>
                    <a:lnTo>
                      <a:pt x="535" y="924"/>
                    </a:lnTo>
                    <a:lnTo>
                      <a:pt x="579" y="924"/>
                    </a:lnTo>
                    <a:lnTo>
                      <a:pt x="579" y="971"/>
                    </a:lnTo>
                    <a:lnTo>
                      <a:pt x="584" y="971"/>
                    </a:lnTo>
                    <a:lnTo>
                      <a:pt x="584" y="924"/>
                    </a:lnTo>
                    <a:lnTo>
                      <a:pt x="628" y="924"/>
                    </a:lnTo>
                    <a:lnTo>
                      <a:pt x="628" y="971"/>
                    </a:lnTo>
                    <a:lnTo>
                      <a:pt x="632" y="971"/>
                    </a:lnTo>
                    <a:lnTo>
                      <a:pt x="632" y="924"/>
                    </a:lnTo>
                    <a:lnTo>
                      <a:pt x="676" y="924"/>
                    </a:lnTo>
                    <a:lnTo>
                      <a:pt x="676" y="971"/>
                    </a:lnTo>
                    <a:lnTo>
                      <a:pt x="681" y="971"/>
                    </a:lnTo>
                    <a:lnTo>
                      <a:pt x="681" y="924"/>
                    </a:lnTo>
                    <a:lnTo>
                      <a:pt x="725" y="924"/>
                    </a:lnTo>
                    <a:lnTo>
                      <a:pt x="725" y="971"/>
                    </a:lnTo>
                    <a:lnTo>
                      <a:pt x="729" y="971"/>
                    </a:lnTo>
                    <a:lnTo>
                      <a:pt x="729" y="924"/>
                    </a:lnTo>
                    <a:lnTo>
                      <a:pt x="822" y="924"/>
                    </a:lnTo>
                    <a:lnTo>
                      <a:pt x="822" y="971"/>
                    </a:lnTo>
                    <a:lnTo>
                      <a:pt x="826" y="971"/>
                    </a:lnTo>
                    <a:lnTo>
                      <a:pt x="826" y="924"/>
                    </a:lnTo>
                    <a:lnTo>
                      <a:pt x="870" y="924"/>
                    </a:lnTo>
                    <a:lnTo>
                      <a:pt x="870" y="971"/>
                    </a:lnTo>
                    <a:lnTo>
                      <a:pt x="875" y="971"/>
                    </a:lnTo>
                    <a:lnTo>
                      <a:pt x="875" y="924"/>
                    </a:lnTo>
                    <a:lnTo>
                      <a:pt x="919" y="924"/>
                    </a:lnTo>
                    <a:lnTo>
                      <a:pt x="919" y="971"/>
                    </a:lnTo>
                    <a:lnTo>
                      <a:pt x="924" y="971"/>
                    </a:lnTo>
                    <a:lnTo>
                      <a:pt x="924" y="924"/>
                    </a:lnTo>
                    <a:lnTo>
                      <a:pt x="967" y="924"/>
                    </a:lnTo>
                    <a:lnTo>
                      <a:pt x="967" y="971"/>
                    </a:lnTo>
                    <a:lnTo>
                      <a:pt x="972" y="971"/>
                    </a:lnTo>
                    <a:lnTo>
                      <a:pt x="972" y="924"/>
                    </a:lnTo>
                    <a:lnTo>
                      <a:pt x="1016" y="924"/>
                    </a:lnTo>
                    <a:lnTo>
                      <a:pt x="1016" y="971"/>
                    </a:lnTo>
                    <a:lnTo>
                      <a:pt x="1021" y="971"/>
                    </a:lnTo>
                    <a:lnTo>
                      <a:pt x="1021" y="924"/>
                    </a:lnTo>
                    <a:lnTo>
                      <a:pt x="1065" y="924"/>
                    </a:lnTo>
                    <a:lnTo>
                      <a:pt x="1065" y="971"/>
                    </a:lnTo>
                    <a:lnTo>
                      <a:pt x="1069" y="971"/>
                    </a:lnTo>
                    <a:lnTo>
                      <a:pt x="1069" y="924"/>
                    </a:lnTo>
                    <a:lnTo>
                      <a:pt x="1113" y="924"/>
                    </a:lnTo>
                    <a:lnTo>
                      <a:pt x="1113" y="971"/>
                    </a:lnTo>
                    <a:lnTo>
                      <a:pt x="1118" y="971"/>
                    </a:lnTo>
                    <a:lnTo>
                      <a:pt x="1118" y="924"/>
                    </a:lnTo>
                    <a:lnTo>
                      <a:pt x="1162" y="924"/>
                    </a:lnTo>
                    <a:lnTo>
                      <a:pt x="1162" y="971"/>
                    </a:lnTo>
                    <a:lnTo>
                      <a:pt x="1166" y="971"/>
                    </a:lnTo>
                    <a:lnTo>
                      <a:pt x="1166" y="924"/>
                    </a:lnTo>
                    <a:lnTo>
                      <a:pt x="1210" y="924"/>
                    </a:lnTo>
                    <a:lnTo>
                      <a:pt x="1210" y="971"/>
                    </a:lnTo>
                    <a:lnTo>
                      <a:pt x="1215" y="971"/>
                    </a:lnTo>
                    <a:lnTo>
                      <a:pt x="1215" y="924"/>
                    </a:lnTo>
                    <a:lnTo>
                      <a:pt x="1259" y="924"/>
                    </a:lnTo>
                    <a:lnTo>
                      <a:pt x="1259" y="971"/>
                    </a:lnTo>
                    <a:lnTo>
                      <a:pt x="1263" y="971"/>
                    </a:lnTo>
                    <a:lnTo>
                      <a:pt x="1263" y="924"/>
                    </a:lnTo>
                    <a:lnTo>
                      <a:pt x="1307" y="924"/>
                    </a:lnTo>
                    <a:lnTo>
                      <a:pt x="1307" y="971"/>
                    </a:lnTo>
                    <a:lnTo>
                      <a:pt x="1312" y="971"/>
                    </a:lnTo>
                    <a:lnTo>
                      <a:pt x="1312" y="924"/>
                    </a:lnTo>
                    <a:lnTo>
                      <a:pt x="1354" y="924"/>
                    </a:lnTo>
                    <a:lnTo>
                      <a:pt x="1354" y="971"/>
                    </a:lnTo>
                    <a:lnTo>
                      <a:pt x="1360" y="971"/>
                    </a:lnTo>
                    <a:lnTo>
                      <a:pt x="1360" y="924"/>
                    </a:lnTo>
                    <a:lnTo>
                      <a:pt x="1403" y="924"/>
                    </a:lnTo>
                    <a:lnTo>
                      <a:pt x="1403" y="971"/>
                    </a:lnTo>
                    <a:lnTo>
                      <a:pt x="1409" y="971"/>
                    </a:lnTo>
                    <a:lnTo>
                      <a:pt x="1409" y="924"/>
                    </a:lnTo>
                    <a:lnTo>
                      <a:pt x="1451" y="924"/>
                    </a:lnTo>
                    <a:lnTo>
                      <a:pt x="1451" y="971"/>
                    </a:lnTo>
                    <a:lnTo>
                      <a:pt x="1457" y="971"/>
                    </a:lnTo>
                    <a:lnTo>
                      <a:pt x="1457" y="924"/>
                    </a:lnTo>
                    <a:lnTo>
                      <a:pt x="1500" y="924"/>
                    </a:lnTo>
                    <a:lnTo>
                      <a:pt x="1500" y="971"/>
                    </a:lnTo>
                    <a:lnTo>
                      <a:pt x="1506" y="971"/>
                    </a:lnTo>
                    <a:lnTo>
                      <a:pt x="1506" y="924"/>
                    </a:lnTo>
                    <a:lnTo>
                      <a:pt x="1551" y="924"/>
                    </a:lnTo>
                    <a:lnTo>
                      <a:pt x="1551" y="920"/>
                    </a:lnTo>
                    <a:lnTo>
                      <a:pt x="1506" y="920"/>
                    </a:lnTo>
                    <a:lnTo>
                      <a:pt x="1506" y="876"/>
                    </a:lnTo>
                    <a:lnTo>
                      <a:pt x="1551" y="876"/>
                    </a:lnTo>
                    <a:lnTo>
                      <a:pt x="1551" y="871"/>
                    </a:lnTo>
                    <a:lnTo>
                      <a:pt x="1506" y="871"/>
                    </a:lnTo>
                    <a:lnTo>
                      <a:pt x="1506" y="827"/>
                    </a:lnTo>
                    <a:lnTo>
                      <a:pt x="1551" y="827"/>
                    </a:lnTo>
                    <a:lnTo>
                      <a:pt x="1551" y="822"/>
                    </a:lnTo>
                    <a:lnTo>
                      <a:pt x="1506" y="822"/>
                    </a:lnTo>
                    <a:lnTo>
                      <a:pt x="1506" y="778"/>
                    </a:lnTo>
                    <a:lnTo>
                      <a:pt x="1551" y="778"/>
                    </a:lnTo>
                    <a:lnTo>
                      <a:pt x="1551" y="774"/>
                    </a:lnTo>
                    <a:lnTo>
                      <a:pt x="1506" y="774"/>
                    </a:lnTo>
                    <a:lnTo>
                      <a:pt x="1506" y="730"/>
                    </a:lnTo>
                    <a:lnTo>
                      <a:pt x="1551" y="730"/>
                    </a:lnTo>
                    <a:lnTo>
                      <a:pt x="1551" y="725"/>
                    </a:lnTo>
                    <a:lnTo>
                      <a:pt x="1506" y="725"/>
                    </a:lnTo>
                    <a:lnTo>
                      <a:pt x="1506" y="683"/>
                    </a:lnTo>
                    <a:lnTo>
                      <a:pt x="1551" y="683"/>
                    </a:lnTo>
                    <a:lnTo>
                      <a:pt x="1551" y="677"/>
                    </a:lnTo>
                    <a:lnTo>
                      <a:pt x="1506" y="677"/>
                    </a:lnTo>
                    <a:lnTo>
                      <a:pt x="1506" y="634"/>
                    </a:lnTo>
                    <a:lnTo>
                      <a:pt x="1551" y="634"/>
                    </a:lnTo>
                    <a:lnTo>
                      <a:pt x="1551" y="628"/>
                    </a:lnTo>
                    <a:lnTo>
                      <a:pt x="1506" y="628"/>
                    </a:lnTo>
                    <a:lnTo>
                      <a:pt x="1506" y="586"/>
                    </a:lnTo>
                    <a:lnTo>
                      <a:pt x="1551" y="586"/>
                    </a:lnTo>
                    <a:lnTo>
                      <a:pt x="1551" y="580"/>
                    </a:lnTo>
                    <a:lnTo>
                      <a:pt x="1506" y="580"/>
                    </a:lnTo>
                    <a:lnTo>
                      <a:pt x="1506" y="537"/>
                    </a:lnTo>
                    <a:lnTo>
                      <a:pt x="1551" y="537"/>
                    </a:lnTo>
                    <a:lnTo>
                      <a:pt x="1551" y="531"/>
                    </a:lnTo>
                    <a:lnTo>
                      <a:pt x="1506" y="531"/>
                    </a:lnTo>
                    <a:lnTo>
                      <a:pt x="1506" y="440"/>
                    </a:lnTo>
                    <a:lnTo>
                      <a:pt x="1551" y="440"/>
                    </a:lnTo>
                    <a:lnTo>
                      <a:pt x="1551" y="435"/>
                    </a:lnTo>
                    <a:lnTo>
                      <a:pt x="1506" y="435"/>
                    </a:lnTo>
                    <a:lnTo>
                      <a:pt x="1506" y="391"/>
                    </a:lnTo>
                    <a:lnTo>
                      <a:pt x="1551" y="391"/>
                    </a:lnTo>
                    <a:lnTo>
                      <a:pt x="1551" y="387"/>
                    </a:lnTo>
                    <a:lnTo>
                      <a:pt x="1506" y="387"/>
                    </a:lnTo>
                    <a:lnTo>
                      <a:pt x="1506" y="343"/>
                    </a:lnTo>
                    <a:lnTo>
                      <a:pt x="1551" y="343"/>
                    </a:lnTo>
                    <a:lnTo>
                      <a:pt x="1551" y="338"/>
                    </a:lnTo>
                    <a:lnTo>
                      <a:pt x="1506" y="338"/>
                    </a:lnTo>
                    <a:lnTo>
                      <a:pt x="1506" y="294"/>
                    </a:lnTo>
                    <a:lnTo>
                      <a:pt x="1551" y="294"/>
                    </a:lnTo>
                    <a:lnTo>
                      <a:pt x="1551" y="290"/>
                    </a:lnTo>
                    <a:lnTo>
                      <a:pt x="1506" y="290"/>
                    </a:lnTo>
                    <a:lnTo>
                      <a:pt x="1506" y="246"/>
                    </a:lnTo>
                    <a:lnTo>
                      <a:pt x="1551" y="246"/>
                    </a:lnTo>
                    <a:lnTo>
                      <a:pt x="1551" y="241"/>
                    </a:lnTo>
                    <a:lnTo>
                      <a:pt x="1506" y="241"/>
                    </a:lnTo>
                    <a:lnTo>
                      <a:pt x="1506" y="197"/>
                    </a:lnTo>
                    <a:lnTo>
                      <a:pt x="1551" y="197"/>
                    </a:lnTo>
                    <a:lnTo>
                      <a:pt x="1551" y="193"/>
                    </a:lnTo>
                    <a:lnTo>
                      <a:pt x="1506" y="193"/>
                    </a:lnTo>
                    <a:lnTo>
                      <a:pt x="1506" y="149"/>
                    </a:lnTo>
                    <a:lnTo>
                      <a:pt x="1551" y="149"/>
                    </a:lnTo>
                    <a:lnTo>
                      <a:pt x="1551" y="144"/>
                    </a:lnTo>
                    <a:lnTo>
                      <a:pt x="1506" y="144"/>
                    </a:lnTo>
                    <a:lnTo>
                      <a:pt x="1506" y="100"/>
                    </a:lnTo>
                    <a:lnTo>
                      <a:pt x="1551" y="100"/>
                    </a:lnTo>
                    <a:lnTo>
                      <a:pt x="1551" y="95"/>
                    </a:lnTo>
                    <a:lnTo>
                      <a:pt x="1506" y="95"/>
                    </a:lnTo>
                    <a:lnTo>
                      <a:pt x="1506" y="51"/>
                    </a:lnTo>
                    <a:lnTo>
                      <a:pt x="1551" y="51"/>
                    </a:lnTo>
                    <a:close/>
                    <a:moveTo>
                      <a:pt x="1451" y="51"/>
                    </a:moveTo>
                    <a:lnTo>
                      <a:pt x="1451" y="95"/>
                    </a:lnTo>
                    <a:lnTo>
                      <a:pt x="1409" y="95"/>
                    </a:lnTo>
                    <a:lnTo>
                      <a:pt x="1409" y="51"/>
                    </a:lnTo>
                    <a:lnTo>
                      <a:pt x="1451" y="51"/>
                    </a:lnTo>
                    <a:close/>
                    <a:moveTo>
                      <a:pt x="487" y="440"/>
                    </a:moveTo>
                    <a:lnTo>
                      <a:pt x="531" y="440"/>
                    </a:lnTo>
                    <a:lnTo>
                      <a:pt x="531" y="531"/>
                    </a:lnTo>
                    <a:lnTo>
                      <a:pt x="487" y="531"/>
                    </a:lnTo>
                    <a:lnTo>
                      <a:pt x="487" y="440"/>
                    </a:lnTo>
                    <a:close/>
                    <a:moveTo>
                      <a:pt x="482" y="531"/>
                    </a:moveTo>
                    <a:lnTo>
                      <a:pt x="438" y="531"/>
                    </a:lnTo>
                    <a:lnTo>
                      <a:pt x="438" y="440"/>
                    </a:lnTo>
                    <a:lnTo>
                      <a:pt x="482" y="440"/>
                    </a:lnTo>
                    <a:lnTo>
                      <a:pt x="482" y="531"/>
                    </a:lnTo>
                    <a:close/>
                    <a:moveTo>
                      <a:pt x="535" y="440"/>
                    </a:moveTo>
                    <a:lnTo>
                      <a:pt x="579" y="440"/>
                    </a:lnTo>
                    <a:lnTo>
                      <a:pt x="579" y="531"/>
                    </a:lnTo>
                    <a:lnTo>
                      <a:pt x="535" y="531"/>
                    </a:lnTo>
                    <a:lnTo>
                      <a:pt x="535" y="440"/>
                    </a:lnTo>
                    <a:close/>
                    <a:moveTo>
                      <a:pt x="584" y="440"/>
                    </a:moveTo>
                    <a:lnTo>
                      <a:pt x="628" y="440"/>
                    </a:lnTo>
                    <a:lnTo>
                      <a:pt x="628" y="531"/>
                    </a:lnTo>
                    <a:lnTo>
                      <a:pt x="584" y="531"/>
                    </a:lnTo>
                    <a:lnTo>
                      <a:pt x="584" y="440"/>
                    </a:lnTo>
                    <a:close/>
                    <a:moveTo>
                      <a:pt x="632" y="440"/>
                    </a:moveTo>
                    <a:lnTo>
                      <a:pt x="676" y="440"/>
                    </a:lnTo>
                    <a:lnTo>
                      <a:pt x="676" y="531"/>
                    </a:lnTo>
                    <a:lnTo>
                      <a:pt x="632" y="531"/>
                    </a:lnTo>
                    <a:lnTo>
                      <a:pt x="632" y="440"/>
                    </a:lnTo>
                    <a:close/>
                    <a:moveTo>
                      <a:pt x="681" y="440"/>
                    </a:moveTo>
                    <a:lnTo>
                      <a:pt x="725" y="440"/>
                    </a:lnTo>
                    <a:lnTo>
                      <a:pt x="725" y="531"/>
                    </a:lnTo>
                    <a:lnTo>
                      <a:pt x="681" y="531"/>
                    </a:lnTo>
                    <a:lnTo>
                      <a:pt x="681" y="440"/>
                    </a:lnTo>
                    <a:close/>
                    <a:moveTo>
                      <a:pt x="729" y="440"/>
                    </a:moveTo>
                    <a:lnTo>
                      <a:pt x="822" y="440"/>
                    </a:lnTo>
                    <a:lnTo>
                      <a:pt x="822" y="531"/>
                    </a:lnTo>
                    <a:lnTo>
                      <a:pt x="729" y="531"/>
                    </a:lnTo>
                    <a:lnTo>
                      <a:pt x="729" y="440"/>
                    </a:lnTo>
                    <a:close/>
                    <a:moveTo>
                      <a:pt x="826" y="440"/>
                    </a:moveTo>
                    <a:lnTo>
                      <a:pt x="870" y="440"/>
                    </a:lnTo>
                    <a:lnTo>
                      <a:pt x="870" y="531"/>
                    </a:lnTo>
                    <a:lnTo>
                      <a:pt x="826" y="531"/>
                    </a:lnTo>
                    <a:lnTo>
                      <a:pt x="826" y="440"/>
                    </a:lnTo>
                    <a:close/>
                    <a:moveTo>
                      <a:pt x="875" y="440"/>
                    </a:moveTo>
                    <a:lnTo>
                      <a:pt x="919" y="440"/>
                    </a:lnTo>
                    <a:lnTo>
                      <a:pt x="919" y="531"/>
                    </a:lnTo>
                    <a:lnTo>
                      <a:pt x="875" y="531"/>
                    </a:lnTo>
                    <a:lnTo>
                      <a:pt x="875" y="440"/>
                    </a:lnTo>
                    <a:close/>
                    <a:moveTo>
                      <a:pt x="924" y="440"/>
                    </a:moveTo>
                    <a:lnTo>
                      <a:pt x="967" y="440"/>
                    </a:lnTo>
                    <a:lnTo>
                      <a:pt x="967" y="531"/>
                    </a:lnTo>
                    <a:lnTo>
                      <a:pt x="924" y="531"/>
                    </a:lnTo>
                    <a:lnTo>
                      <a:pt x="924" y="440"/>
                    </a:lnTo>
                    <a:close/>
                    <a:moveTo>
                      <a:pt x="972" y="440"/>
                    </a:moveTo>
                    <a:lnTo>
                      <a:pt x="1016" y="440"/>
                    </a:lnTo>
                    <a:lnTo>
                      <a:pt x="1016" y="531"/>
                    </a:lnTo>
                    <a:lnTo>
                      <a:pt x="972" y="531"/>
                    </a:lnTo>
                    <a:lnTo>
                      <a:pt x="972" y="440"/>
                    </a:lnTo>
                    <a:close/>
                    <a:moveTo>
                      <a:pt x="1021" y="440"/>
                    </a:moveTo>
                    <a:lnTo>
                      <a:pt x="1065" y="440"/>
                    </a:lnTo>
                    <a:lnTo>
                      <a:pt x="1065" y="531"/>
                    </a:lnTo>
                    <a:lnTo>
                      <a:pt x="1021" y="531"/>
                    </a:lnTo>
                    <a:lnTo>
                      <a:pt x="1021" y="440"/>
                    </a:lnTo>
                    <a:close/>
                    <a:moveTo>
                      <a:pt x="1069" y="440"/>
                    </a:moveTo>
                    <a:lnTo>
                      <a:pt x="1113" y="440"/>
                    </a:lnTo>
                    <a:lnTo>
                      <a:pt x="1113" y="531"/>
                    </a:lnTo>
                    <a:lnTo>
                      <a:pt x="1069" y="531"/>
                    </a:lnTo>
                    <a:lnTo>
                      <a:pt x="1069" y="440"/>
                    </a:lnTo>
                    <a:close/>
                    <a:moveTo>
                      <a:pt x="1069" y="435"/>
                    </a:moveTo>
                    <a:lnTo>
                      <a:pt x="1069" y="391"/>
                    </a:lnTo>
                    <a:lnTo>
                      <a:pt x="1113" y="391"/>
                    </a:lnTo>
                    <a:lnTo>
                      <a:pt x="1113" y="435"/>
                    </a:lnTo>
                    <a:lnTo>
                      <a:pt x="1069" y="435"/>
                    </a:lnTo>
                    <a:close/>
                    <a:moveTo>
                      <a:pt x="1065" y="435"/>
                    </a:moveTo>
                    <a:lnTo>
                      <a:pt x="1021" y="435"/>
                    </a:lnTo>
                    <a:lnTo>
                      <a:pt x="1021" y="391"/>
                    </a:lnTo>
                    <a:lnTo>
                      <a:pt x="1065" y="391"/>
                    </a:lnTo>
                    <a:lnTo>
                      <a:pt x="1065" y="435"/>
                    </a:lnTo>
                    <a:close/>
                    <a:moveTo>
                      <a:pt x="1016" y="435"/>
                    </a:moveTo>
                    <a:lnTo>
                      <a:pt x="972" y="435"/>
                    </a:lnTo>
                    <a:lnTo>
                      <a:pt x="972" y="391"/>
                    </a:lnTo>
                    <a:lnTo>
                      <a:pt x="1016" y="391"/>
                    </a:lnTo>
                    <a:lnTo>
                      <a:pt x="1016" y="435"/>
                    </a:lnTo>
                    <a:close/>
                    <a:moveTo>
                      <a:pt x="967" y="435"/>
                    </a:moveTo>
                    <a:lnTo>
                      <a:pt x="924" y="435"/>
                    </a:lnTo>
                    <a:lnTo>
                      <a:pt x="924" y="391"/>
                    </a:lnTo>
                    <a:lnTo>
                      <a:pt x="967" y="391"/>
                    </a:lnTo>
                    <a:lnTo>
                      <a:pt x="967" y="435"/>
                    </a:lnTo>
                    <a:close/>
                    <a:moveTo>
                      <a:pt x="919" y="435"/>
                    </a:moveTo>
                    <a:lnTo>
                      <a:pt x="875" y="435"/>
                    </a:lnTo>
                    <a:lnTo>
                      <a:pt x="875" y="391"/>
                    </a:lnTo>
                    <a:lnTo>
                      <a:pt x="919" y="391"/>
                    </a:lnTo>
                    <a:lnTo>
                      <a:pt x="919" y="435"/>
                    </a:lnTo>
                    <a:close/>
                    <a:moveTo>
                      <a:pt x="870" y="435"/>
                    </a:moveTo>
                    <a:lnTo>
                      <a:pt x="826" y="435"/>
                    </a:lnTo>
                    <a:lnTo>
                      <a:pt x="826" y="391"/>
                    </a:lnTo>
                    <a:lnTo>
                      <a:pt x="870" y="391"/>
                    </a:lnTo>
                    <a:lnTo>
                      <a:pt x="870" y="435"/>
                    </a:lnTo>
                    <a:close/>
                    <a:moveTo>
                      <a:pt x="822" y="435"/>
                    </a:moveTo>
                    <a:lnTo>
                      <a:pt x="729" y="435"/>
                    </a:lnTo>
                    <a:lnTo>
                      <a:pt x="729" y="391"/>
                    </a:lnTo>
                    <a:lnTo>
                      <a:pt x="822" y="391"/>
                    </a:lnTo>
                    <a:lnTo>
                      <a:pt x="822" y="435"/>
                    </a:lnTo>
                    <a:close/>
                    <a:moveTo>
                      <a:pt x="725" y="435"/>
                    </a:moveTo>
                    <a:lnTo>
                      <a:pt x="681" y="435"/>
                    </a:lnTo>
                    <a:lnTo>
                      <a:pt x="681" y="391"/>
                    </a:lnTo>
                    <a:lnTo>
                      <a:pt x="725" y="391"/>
                    </a:lnTo>
                    <a:lnTo>
                      <a:pt x="725" y="435"/>
                    </a:lnTo>
                    <a:close/>
                    <a:moveTo>
                      <a:pt x="676" y="435"/>
                    </a:moveTo>
                    <a:lnTo>
                      <a:pt x="632" y="435"/>
                    </a:lnTo>
                    <a:lnTo>
                      <a:pt x="632" y="391"/>
                    </a:lnTo>
                    <a:lnTo>
                      <a:pt x="676" y="391"/>
                    </a:lnTo>
                    <a:lnTo>
                      <a:pt x="676" y="435"/>
                    </a:lnTo>
                    <a:close/>
                    <a:moveTo>
                      <a:pt x="628" y="435"/>
                    </a:moveTo>
                    <a:lnTo>
                      <a:pt x="584" y="435"/>
                    </a:lnTo>
                    <a:lnTo>
                      <a:pt x="584" y="391"/>
                    </a:lnTo>
                    <a:lnTo>
                      <a:pt x="628" y="391"/>
                    </a:lnTo>
                    <a:lnTo>
                      <a:pt x="628" y="435"/>
                    </a:lnTo>
                    <a:close/>
                    <a:moveTo>
                      <a:pt x="579" y="435"/>
                    </a:moveTo>
                    <a:lnTo>
                      <a:pt x="535" y="435"/>
                    </a:lnTo>
                    <a:lnTo>
                      <a:pt x="535" y="391"/>
                    </a:lnTo>
                    <a:lnTo>
                      <a:pt x="579" y="391"/>
                    </a:lnTo>
                    <a:lnTo>
                      <a:pt x="579" y="435"/>
                    </a:lnTo>
                    <a:close/>
                    <a:moveTo>
                      <a:pt x="531" y="435"/>
                    </a:moveTo>
                    <a:lnTo>
                      <a:pt x="487" y="435"/>
                    </a:lnTo>
                    <a:lnTo>
                      <a:pt x="487" y="391"/>
                    </a:lnTo>
                    <a:lnTo>
                      <a:pt x="531" y="391"/>
                    </a:lnTo>
                    <a:lnTo>
                      <a:pt x="531" y="435"/>
                    </a:lnTo>
                    <a:close/>
                    <a:moveTo>
                      <a:pt x="482" y="435"/>
                    </a:moveTo>
                    <a:lnTo>
                      <a:pt x="438" y="435"/>
                    </a:lnTo>
                    <a:lnTo>
                      <a:pt x="438" y="391"/>
                    </a:lnTo>
                    <a:lnTo>
                      <a:pt x="482" y="391"/>
                    </a:lnTo>
                    <a:lnTo>
                      <a:pt x="482" y="435"/>
                    </a:lnTo>
                    <a:close/>
                    <a:moveTo>
                      <a:pt x="434" y="435"/>
                    </a:moveTo>
                    <a:lnTo>
                      <a:pt x="390" y="435"/>
                    </a:lnTo>
                    <a:lnTo>
                      <a:pt x="390" y="391"/>
                    </a:lnTo>
                    <a:lnTo>
                      <a:pt x="434" y="391"/>
                    </a:lnTo>
                    <a:lnTo>
                      <a:pt x="434" y="435"/>
                    </a:lnTo>
                    <a:close/>
                    <a:moveTo>
                      <a:pt x="434" y="440"/>
                    </a:moveTo>
                    <a:lnTo>
                      <a:pt x="434" y="531"/>
                    </a:lnTo>
                    <a:lnTo>
                      <a:pt x="390" y="531"/>
                    </a:lnTo>
                    <a:lnTo>
                      <a:pt x="390" y="440"/>
                    </a:lnTo>
                    <a:lnTo>
                      <a:pt x="434" y="440"/>
                    </a:lnTo>
                    <a:close/>
                    <a:moveTo>
                      <a:pt x="434" y="537"/>
                    </a:moveTo>
                    <a:lnTo>
                      <a:pt x="434" y="580"/>
                    </a:lnTo>
                    <a:lnTo>
                      <a:pt x="390" y="580"/>
                    </a:lnTo>
                    <a:lnTo>
                      <a:pt x="390" y="537"/>
                    </a:lnTo>
                    <a:lnTo>
                      <a:pt x="434" y="537"/>
                    </a:lnTo>
                    <a:close/>
                    <a:moveTo>
                      <a:pt x="438" y="537"/>
                    </a:moveTo>
                    <a:lnTo>
                      <a:pt x="482" y="537"/>
                    </a:lnTo>
                    <a:lnTo>
                      <a:pt x="482" y="580"/>
                    </a:lnTo>
                    <a:lnTo>
                      <a:pt x="438" y="580"/>
                    </a:lnTo>
                    <a:lnTo>
                      <a:pt x="438" y="537"/>
                    </a:lnTo>
                    <a:close/>
                    <a:moveTo>
                      <a:pt x="487" y="537"/>
                    </a:moveTo>
                    <a:lnTo>
                      <a:pt x="531" y="537"/>
                    </a:lnTo>
                    <a:lnTo>
                      <a:pt x="531" y="580"/>
                    </a:lnTo>
                    <a:lnTo>
                      <a:pt x="487" y="580"/>
                    </a:lnTo>
                    <a:lnTo>
                      <a:pt x="487" y="537"/>
                    </a:lnTo>
                    <a:close/>
                    <a:moveTo>
                      <a:pt x="535" y="537"/>
                    </a:moveTo>
                    <a:lnTo>
                      <a:pt x="579" y="537"/>
                    </a:lnTo>
                    <a:lnTo>
                      <a:pt x="579" y="580"/>
                    </a:lnTo>
                    <a:lnTo>
                      <a:pt x="535" y="580"/>
                    </a:lnTo>
                    <a:lnTo>
                      <a:pt x="535" y="537"/>
                    </a:lnTo>
                    <a:close/>
                    <a:moveTo>
                      <a:pt x="584" y="537"/>
                    </a:moveTo>
                    <a:lnTo>
                      <a:pt x="628" y="537"/>
                    </a:lnTo>
                    <a:lnTo>
                      <a:pt x="628" y="580"/>
                    </a:lnTo>
                    <a:lnTo>
                      <a:pt x="584" y="580"/>
                    </a:lnTo>
                    <a:lnTo>
                      <a:pt x="584" y="537"/>
                    </a:lnTo>
                    <a:close/>
                    <a:moveTo>
                      <a:pt x="632" y="537"/>
                    </a:moveTo>
                    <a:lnTo>
                      <a:pt x="676" y="537"/>
                    </a:lnTo>
                    <a:lnTo>
                      <a:pt x="676" y="580"/>
                    </a:lnTo>
                    <a:lnTo>
                      <a:pt x="632" y="580"/>
                    </a:lnTo>
                    <a:lnTo>
                      <a:pt x="632" y="537"/>
                    </a:lnTo>
                    <a:close/>
                    <a:moveTo>
                      <a:pt x="681" y="537"/>
                    </a:moveTo>
                    <a:lnTo>
                      <a:pt x="725" y="537"/>
                    </a:lnTo>
                    <a:lnTo>
                      <a:pt x="725" y="580"/>
                    </a:lnTo>
                    <a:lnTo>
                      <a:pt x="681" y="580"/>
                    </a:lnTo>
                    <a:lnTo>
                      <a:pt x="681" y="537"/>
                    </a:lnTo>
                    <a:close/>
                    <a:moveTo>
                      <a:pt x="729" y="537"/>
                    </a:moveTo>
                    <a:lnTo>
                      <a:pt x="822" y="537"/>
                    </a:lnTo>
                    <a:lnTo>
                      <a:pt x="822" y="580"/>
                    </a:lnTo>
                    <a:lnTo>
                      <a:pt x="729" y="580"/>
                    </a:lnTo>
                    <a:lnTo>
                      <a:pt x="729" y="537"/>
                    </a:lnTo>
                    <a:close/>
                    <a:moveTo>
                      <a:pt x="826" y="537"/>
                    </a:moveTo>
                    <a:lnTo>
                      <a:pt x="870" y="537"/>
                    </a:lnTo>
                    <a:lnTo>
                      <a:pt x="870" y="580"/>
                    </a:lnTo>
                    <a:lnTo>
                      <a:pt x="826" y="580"/>
                    </a:lnTo>
                    <a:lnTo>
                      <a:pt x="826" y="537"/>
                    </a:lnTo>
                    <a:close/>
                    <a:moveTo>
                      <a:pt x="875" y="537"/>
                    </a:moveTo>
                    <a:lnTo>
                      <a:pt x="919" y="537"/>
                    </a:lnTo>
                    <a:lnTo>
                      <a:pt x="919" y="580"/>
                    </a:lnTo>
                    <a:lnTo>
                      <a:pt x="875" y="580"/>
                    </a:lnTo>
                    <a:lnTo>
                      <a:pt x="875" y="537"/>
                    </a:lnTo>
                    <a:close/>
                    <a:moveTo>
                      <a:pt x="924" y="537"/>
                    </a:moveTo>
                    <a:lnTo>
                      <a:pt x="967" y="537"/>
                    </a:lnTo>
                    <a:lnTo>
                      <a:pt x="967" y="580"/>
                    </a:lnTo>
                    <a:lnTo>
                      <a:pt x="924" y="580"/>
                    </a:lnTo>
                    <a:lnTo>
                      <a:pt x="924" y="537"/>
                    </a:lnTo>
                    <a:close/>
                    <a:moveTo>
                      <a:pt x="972" y="537"/>
                    </a:moveTo>
                    <a:lnTo>
                      <a:pt x="1016" y="537"/>
                    </a:lnTo>
                    <a:lnTo>
                      <a:pt x="1016" y="580"/>
                    </a:lnTo>
                    <a:lnTo>
                      <a:pt x="972" y="580"/>
                    </a:lnTo>
                    <a:lnTo>
                      <a:pt x="972" y="537"/>
                    </a:lnTo>
                    <a:close/>
                    <a:moveTo>
                      <a:pt x="1021" y="537"/>
                    </a:moveTo>
                    <a:lnTo>
                      <a:pt x="1065" y="537"/>
                    </a:lnTo>
                    <a:lnTo>
                      <a:pt x="1065" y="580"/>
                    </a:lnTo>
                    <a:lnTo>
                      <a:pt x="1021" y="580"/>
                    </a:lnTo>
                    <a:lnTo>
                      <a:pt x="1021" y="537"/>
                    </a:lnTo>
                    <a:close/>
                    <a:moveTo>
                      <a:pt x="1069" y="537"/>
                    </a:moveTo>
                    <a:lnTo>
                      <a:pt x="1113" y="537"/>
                    </a:lnTo>
                    <a:lnTo>
                      <a:pt x="1113" y="580"/>
                    </a:lnTo>
                    <a:lnTo>
                      <a:pt x="1069" y="580"/>
                    </a:lnTo>
                    <a:lnTo>
                      <a:pt x="1069" y="537"/>
                    </a:lnTo>
                    <a:close/>
                    <a:moveTo>
                      <a:pt x="1118" y="537"/>
                    </a:moveTo>
                    <a:lnTo>
                      <a:pt x="1162" y="537"/>
                    </a:lnTo>
                    <a:lnTo>
                      <a:pt x="1162" y="580"/>
                    </a:lnTo>
                    <a:lnTo>
                      <a:pt x="1118" y="580"/>
                    </a:lnTo>
                    <a:lnTo>
                      <a:pt x="1118" y="537"/>
                    </a:lnTo>
                    <a:close/>
                    <a:moveTo>
                      <a:pt x="1118" y="531"/>
                    </a:moveTo>
                    <a:lnTo>
                      <a:pt x="1118" y="440"/>
                    </a:lnTo>
                    <a:lnTo>
                      <a:pt x="1162" y="440"/>
                    </a:lnTo>
                    <a:lnTo>
                      <a:pt x="1162" y="531"/>
                    </a:lnTo>
                    <a:lnTo>
                      <a:pt x="1118" y="531"/>
                    </a:lnTo>
                    <a:close/>
                    <a:moveTo>
                      <a:pt x="1118" y="435"/>
                    </a:moveTo>
                    <a:lnTo>
                      <a:pt x="1118" y="391"/>
                    </a:lnTo>
                    <a:lnTo>
                      <a:pt x="1162" y="391"/>
                    </a:lnTo>
                    <a:lnTo>
                      <a:pt x="1162" y="435"/>
                    </a:lnTo>
                    <a:lnTo>
                      <a:pt x="1118" y="435"/>
                    </a:lnTo>
                    <a:close/>
                    <a:moveTo>
                      <a:pt x="1118" y="387"/>
                    </a:moveTo>
                    <a:lnTo>
                      <a:pt x="1118" y="343"/>
                    </a:lnTo>
                    <a:lnTo>
                      <a:pt x="1162" y="343"/>
                    </a:lnTo>
                    <a:lnTo>
                      <a:pt x="1162" y="387"/>
                    </a:lnTo>
                    <a:lnTo>
                      <a:pt x="1118" y="387"/>
                    </a:lnTo>
                    <a:close/>
                    <a:moveTo>
                      <a:pt x="1113" y="387"/>
                    </a:moveTo>
                    <a:lnTo>
                      <a:pt x="1069" y="387"/>
                    </a:lnTo>
                    <a:lnTo>
                      <a:pt x="1069" y="343"/>
                    </a:lnTo>
                    <a:lnTo>
                      <a:pt x="1113" y="343"/>
                    </a:lnTo>
                    <a:lnTo>
                      <a:pt x="1113" y="387"/>
                    </a:lnTo>
                    <a:close/>
                    <a:moveTo>
                      <a:pt x="1065" y="387"/>
                    </a:moveTo>
                    <a:lnTo>
                      <a:pt x="1021" y="387"/>
                    </a:lnTo>
                    <a:lnTo>
                      <a:pt x="1021" y="343"/>
                    </a:lnTo>
                    <a:lnTo>
                      <a:pt x="1065" y="343"/>
                    </a:lnTo>
                    <a:lnTo>
                      <a:pt x="1065" y="387"/>
                    </a:lnTo>
                    <a:close/>
                    <a:moveTo>
                      <a:pt x="1016" y="387"/>
                    </a:moveTo>
                    <a:lnTo>
                      <a:pt x="972" y="387"/>
                    </a:lnTo>
                    <a:lnTo>
                      <a:pt x="972" y="343"/>
                    </a:lnTo>
                    <a:lnTo>
                      <a:pt x="1016" y="343"/>
                    </a:lnTo>
                    <a:lnTo>
                      <a:pt x="1016" y="387"/>
                    </a:lnTo>
                    <a:close/>
                    <a:moveTo>
                      <a:pt x="967" y="387"/>
                    </a:moveTo>
                    <a:lnTo>
                      <a:pt x="924" y="387"/>
                    </a:lnTo>
                    <a:lnTo>
                      <a:pt x="924" y="343"/>
                    </a:lnTo>
                    <a:lnTo>
                      <a:pt x="967" y="343"/>
                    </a:lnTo>
                    <a:lnTo>
                      <a:pt x="967" y="387"/>
                    </a:lnTo>
                    <a:close/>
                    <a:moveTo>
                      <a:pt x="919" y="387"/>
                    </a:moveTo>
                    <a:lnTo>
                      <a:pt x="875" y="387"/>
                    </a:lnTo>
                    <a:lnTo>
                      <a:pt x="875" y="343"/>
                    </a:lnTo>
                    <a:lnTo>
                      <a:pt x="919" y="343"/>
                    </a:lnTo>
                    <a:lnTo>
                      <a:pt x="919" y="387"/>
                    </a:lnTo>
                    <a:close/>
                    <a:moveTo>
                      <a:pt x="870" y="387"/>
                    </a:moveTo>
                    <a:lnTo>
                      <a:pt x="826" y="387"/>
                    </a:lnTo>
                    <a:lnTo>
                      <a:pt x="826" y="343"/>
                    </a:lnTo>
                    <a:lnTo>
                      <a:pt x="870" y="343"/>
                    </a:lnTo>
                    <a:lnTo>
                      <a:pt x="870" y="387"/>
                    </a:lnTo>
                    <a:close/>
                    <a:moveTo>
                      <a:pt x="822" y="387"/>
                    </a:moveTo>
                    <a:lnTo>
                      <a:pt x="729" y="387"/>
                    </a:lnTo>
                    <a:lnTo>
                      <a:pt x="729" y="343"/>
                    </a:lnTo>
                    <a:lnTo>
                      <a:pt x="822" y="343"/>
                    </a:lnTo>
                    <a:lnTo>
                      <a:pt x="822" y="387"/>
                    </a:lnTo>
                    <a:close/>
                    <a:moveTo>
                      <a:pt x="725" y="387"/>
                    </a:moveTo>
                    <a:lnTo>
                      <a:pt x="681" y="387"/>
                    </a:lnTo>
                    <a:lnTo>
                      <a:pt x="681" y="343"/>
                    </a:lnTo>
                    <a:lnTo>
                      <a:pt x="725" y="343"/>
                    </a:lnTo>
                    <a:lnTo>
                      <a:pt x="725" y="387"/>
                    </a:lnTo>
                    <a:close/>
                    <a:moveTo>
                      <a:pt x="676" y="387"/>
                    </a:moveTo>
                    <a:lnTo>
                      <a:pt x="632" y="387"/>
                    </a:lnTo>
                    <a:lnTo>
                      <a:pt x="632" y="343"/>
                    </a:lnTo>
                    <a:lnTo>
                      <a:pt x="676" y="343"/>
                    </a:lnTo>
                    <a:lnTo>
                      <a:pt x="676" y="387"/>
                    </a:lnTo>
                    <a:close/>
                    <a:moveTo>
                      <a:pt x="628" y="387"/>
                    </a:moveTo>
                    <a:lnTo>
                      <a:pt x="584" y="387"/>
                    </a:lnTo>
                    <a:lnTo>
                      <a:pt x="584" y="343"/>
                    </a:lnTo>
                    <a:lnTo>
                      <a:pt x="628" y="343"/>
                    </a:lnTo>
                    <a:lnTo>
                      <a:pt x="628" y="387"/>
                    </a:lnTo>
                    <a:close/>
                    <a:moveTo>
                      <a:pt x="579" y="387"/>
                    </a:moveTo>
                    <a:lnTo>
                      <a:pt x="535" y="387"/>
                    </a:lnTo>
                    <a:lnTo>
                      <a:pt x="535" y="343"/>
                    </a:lnTo>
                    <a:lnTo>
                      <a:pt x="579" y="343"/>
                    </a:lnTo>
                    <a:lnTo>
                      <a:pt x="579" y="387"/>
                    </a:lnTo>
                    <a:close/>
                    <a:moveTo>
                      <a:pt x="531" y="387"/>
                    </a:moveTo>
                    <a:lnTo>
                      <a:pt x="487" y="387"/>
                    </a:lnTo>
                    <a:lnTo>
                      <a:pt x="487" y="343"/>
                    </a:lnTo>
                    <a:lnTo>
                      <a:pt x="531" y="343"/>
                    </a:lnTo>
                    <a:lnTo>
                      <a:pt x="531" y="387"/>
                    </a:lnTo>
                    <a:close/>
                    <a:moveTo>
                      <a:pt x="482" y="387"/>
                    </a:moveTo>
                    <a:lnTo>
                      <a:pt x="438" y="387"/>
                    </a:lnTo>
                    <a:lnTo>
                      <a:pt x="438" y="343"/>
                    </a:lnTo>
                    <a:lnTo>
                      <a:pt x="482" y="343"/>
                    </a:lnTo>
                    <a:lnTo>
                      <a:pt x="482" y="387"/>
                    </a:lnTo>
                    <a:close/>
                    <a:moveTo>
                      <a:pt x="434" y="387"/>
                    </a:moveTo>
                    <a:lnTo>
                      <a:pt x="390" y="387"/>
                    </a:lnTo>
                    <a:lnTo>
                      <a:pt x="390" y="343"/>
                    </a:lnTo>
                    <a:lnTo>
                      <a:pt x="434" y="343"/>
                    </a:lnTo>
                    <a:lnTo>
                      <a:pt x="434" y="387"/>
                    </a:lnTo>
                    <a:close/>
                    <a:moveTo>
                      <a:pt x="385" y="387"/>
                    </a:moveTo>
                    <a:lnTo>
                      <a:pt x="341" y="387"/>
                    </a:lnTo>
                    <a:lnTo>
                      <a:pt x="341" y="343"/>
                    </a:lnTo>
                    <a:lnTo>
                      <a:pt x="385" y="343"/>
                    </a:lnTo>
                    <a:lnTo>
                      <a:pt x="385" y="387"/>
                    </a:lnTo>
                    <a:close/>
                    <a:moveTo>
                      <a:pt x="385" y="391"/>
                    </a:moveTo>
                    <a:lnTo>
                      <a:pt x="385" y="435"/>
                    </a:lnTo>
                    <a:lnTo>
                      <a:pt x="341" y="435"/>
                    </a:lnTo>
                    <a:lnTo>
                      <a:pt x="341" y="391"/>
                    </a:lnTo>
                    <a:lnTo>
                      <a:pt x="385" y="391"/>
                    </a:lnTo>
                    <a:close/>
                    <a:moveTo>
                      <a:pt x="385" y="440"/>
                    </a:moveTo>
                    <a:lnTo>
                      <a:pt x="385" y="531"/>
                    </a:lnTo>
                    <a:lnTo>
                      <a:pt x="341" y="531"/>
                    </a:lnTo>
                    <a:lnTo>
                      <a:pt x="341" y="440"/>
                    </a:lnTo>
                    <a:lnTo>
                      <a:pt x="385" y="440"/>
                    </a:lnTo>
                    <a:close/>
                    <a:moveTo>
                      <a:pt x="385" y="537"/>
                    </a:moveTo>
                    <a:lnTo>
                      <a:pt x="385" y="580"/>
                    </a:lnTo>
                    <a:lnTo>
                      <a:pt x="341" y="580"/>
                    </a:lnTo>
                    <a:lnTo>
                      <a:pt x="341" y="537"/>
                    </a:lnTo>
                    <a:lnTo>
                      <a:pt x="385" y="537"/>
                    </a:lnTo>
                    <a:close/>
                    <a:moveTo>
                      <a:pt x="385" y="586"/>
                    </a:moveTo>
                    <a:lnTo>
                      <a:pt x="385" y="628"/>
                    </a:lnTo>
                    <a:lnTo>
                      <a:pt x="341" y="628"/>
                    </a:lnTo>
                    <a:lnTo>
                      <a:pt x="341" y="586"/>
                    </a:lnTo>
                    <a:lnTo>
                      <a:pt x="385" y="586"/>
                    </a:lnTo>
                    <a:close/>
                    <a:moveTo>
                      <a:pt x="390" y="586"/>
                    </a:moveTo>
                    <a:lnTo>
                      <a:pt x="434" y="586"/>
                    </a:lnTo>
                    <a:lnTo>
                      <a:pt x="434" y="628"/>
                    </a:lnTo>
                    <a:lnTo>
                      <a:pt x="390" y="628"/>
                    </a:lnTo>
                    <a:lnTo>
                      <a:pt x="390" y="586"/>
                    </a:lnTo>
                    <a:close/>
                    <a:moveTo>
                      <a:pt x="438" y="586"/>
                    </a:moveTo>
                    <a:lnTo>
                      <a:pt x="482" y="586"/>
                    </a:lnTo>
                    <a:lnTo>
                      <a:pt x="482" y="628"/>
                    </a:lnTo>
                    <a:lnTo>
                      <a:pt x="438" y="628"/>
                    </a:lnTo>
                    <a:lnTo>
                      <a:pt x="438" y="586"/>
                    </a:lnTo>
                    <a:close/>
                    <a:moveTo>
                      <a:pt x="487" y="586"/>
                    </a:moveTo>
                    <a:lnTo>
                      <a:pt x="531" y="586"/>
                    </a:lnTo>
                    <a:lnTo>
                      <a:pt x="531" y="628"/>
                    </a:lnTo>
                    <a:lnTo>
                      <a:pt x="487" y="628"/>
                    </a:lnTo>
                    <a:lnTo>
                      <a:pt x="487" y="586"/>
                    </a:lnTo>
                    <a:close/>
                    <a:moveTo>
                      <a:pt x="535" y="586"/>
                    </a:moveTo>
                    <a:lnTo>
                      <a:pt x="579" y="586"/>
                    </a:lnTo>
                    <a:lnTo>
                      <a:pt x="579" y="628"/>
                    </a:lnTo>
                    <a:lnTo>
                      <a:pt x="535" y="628"/>
                    </a:lnTo>
                    <a:lnTo>
                      <a:pt x="535" y="586"/>
                    </a:lnTo>
                    <a:close/>
                    <a:moveTo>
                      <a:pt x="584" y="586"/>
                    </a:moveTo>
                    <a:lnTo>
                      <a:pt x="628" y="586"/>
                    </a:lnTo>
                    <a:lnTo>
                      <a:pt x="628" y="628"/>
                    </a:lnTo>
                    <a:lnTo>
                      <a:pt x="584" y="628"/>
                    </a:lnTo>
                    <a:lnTo>
                      <a:pt x="584" y="586"/>
                    </a:lnTo>
                    <a:close/>
                    <a:moveTo>
                      <a:pt x="632" y="586"/>
                    </a:moveTo>
                    <a:lnTo>
                      <a:pt x="676" y="586"/>
                    </a:lnTo>
                    <a:lnTo>
                      <a:pt x="676" y="628"/>
                    </a:lnTo>
                    <a:lnTo>
                      <a:pt x="632" y="628"/>
                    </a:lnTo>
                    <a:lnTo>
                      <a:pt x="632" y="586"/>
                    </a:lnTo>
                    <a:close/>
                    <a:moveTo>
                      <a:pt x="681" y="586"/>
                    </a:moveTo>
                    <a:lnTo>
                      <a:pt x="725" y="586"/>
                    </a:lnTo>
                    <a:lnTo>
                      <a:pt x="725" y="628"/>
                    </a:lnTo>
                    <a:lnTo>
                      <a:pt x="681" y="628"/>
                    </a:lnTo>
                    <a:lnTo>
                      <a:pt x="681" y="586"/>
                    </a:lnTo>
                    <a:close/>
                    <a:moveTo>
                      <a:pt x="729" y="586"/>
                    </a:moveTo>
                    <a:lnTo>
                      <a:pt x="822" y="586"/>
                    </a:lnTo>
                    <a:lnTo>
                      <a:pt x="822" y="628"/>
                    </a:lnTo>
                    <a:lnTo>
                      <a:pt x="729" y="628"/>
                    </a:lnTo>
                    <a:lnTo>
                      <a:pt x="729" y="586"/>
                    </a:lnTo>
                    <a:close/>
                    <a:moveTo>
                      <a:pt x="826" y="586"/>
                    </a:moveTo>
                    <a:lnTo>
                      <a:pt x="870" y="586"/>
                    </a:lnTo>
                    <a:lnTo>
                      <a:pt x="870" y="628"/>
                    </a:lnTo>
                    <a:lnTo>
                      <a:pt x="826" y="628"/>
                    </a:lnTo>
                    <a:lnTo>
                      <a:pt x="826" y="586"/>
                    </a:lnTo>
                    <a:close/>
                    <a:moveTo>
                      <a:pt x="875" y="586"/>
                    </a:moveTo>
                    <a:lnTo>
                      <a:pt x="919" y="586"/>
                    </a:lnTo>
                    <a:lnTo>
                      <a:pt x="919" y="628"/>
                    </a:lnTo>
                    <a:lnTo>
                      <a:pt x="875" y="628"/>
                    </a:lnTo>
                    <a:lnTo>
                      <a:pt x="875" y="586"/>
                    </a:lnTo>
                    <a:close/>
                    <a:moveTo>
                      <a:pt x="924" y="586"/>
                    </a:moveTo>
                    <a:lnTo>
                      <a:pt x="967" y="586"/>
                    </a:lnTo>
                    <a:lnTo>
                      <a:pt x="967" y="628"/>
                    </a:lnTo>
                    <a:lnTo>
                      <a:pt x="924" y="628"/>
                    </a:lnTo>
                    <a:lnTo>
                      <a:pt x="924" y="586"/>
                    </a:lnTo>
                    <a:close/>
                    <a:moveTo>
                      <a:pt x="972" y="586"/>
                    </a:moveTo>
                    <a:lnTo>
                      <a:pt x="1016" y="586"/>
                    </a:lnTo>
                    <a:lnTo>
                      <a:pt x="1016" y="628"/>
                    </a:lnTo>
                    <a:lnTo>
                      <a:pt x="972" y="628"/>
                    </a:lnTo>
                    <a:lnTo>
                      <a:pt x="972" y="586"/>
                    </a:lnTo>
                    <a:close/>
                    <a:moveTo>
                      <a:pt x="1021" y="586"/>
                    </a:moveTo>
                    <a:lnTo>
                      <a:pt x="1065" y="586"/>
                    </a:lnTo>
                    <a:lnTo>
                      <a:pt x="1065" y="628"/>
                    </a:lnTo>
                    <a:lnTo>
                      <a:pt x="1021" y="628"/>
                    </a:lnTo>
                    <a:lnTo>
                      <a:pt x="1021" y="586"/>
                    </a:lnTo>
                    <a:close/>
                    <a:moveTo>
                      <a:pt x="1069" y="586"/>
                    </a:moveTo>
                    <a:lnTo>
                      <a:pt x="1113" y="586"/>
                    </a:lnTo>
                    <a:lnTo>
                      <a:pt x="1113" y="628"/>
                    </a:lnTo>
                    <a:lnTo>
                      <a:pt x="1069" y="628"/>
                    </a:lnTo>
                    <a:lnTo>
                      <a:pt x="1069" y="586"/>
                    </a:lnTo>
                    <a:close/>
                    <a:moveTo>
                      <a:pt x="1118" y="586"/>
                    </a:moveTo>
                    <a:lnTo>
                      <a:pt x="1162" y="586"/>
                    </a:lnTo>
                    <a:lnTo>
                      <a:pt x="1162" y="628"/>
                    </a:lnTo>
                    <a:lnTo>
                      <a:pt x="1118" y="628"/>
                    </a:lnTo>
                    <a:lnTo>
                      <a:pt x="1118" y="586"/>
                    </a:lnTo>
                    <a:close/>
                    <a:moveTo>
                      <a:pt x="1166" y="586"/>
                    </a:moveTo>
                    <a:lnTo>
                      <a:pt x="1210" y="586"/>
                    </a:lnTo>
                    <a:lnTo>
                      <a:pt x="1210" y="628"/>
                    </a:lnTo>
                    <a:lnTo>
                      <a:pt x="1166" y="628"/>
                    </a:lnTo>
                    <a:lnTo>
                      <a:pt x="1166" y="586"/>
                    </a:lnTo>
                    <a:close/>
                    <a:moveTo>
                      <a:pt x="1166" y="580"/>
                    </a:moveTo>
                    <a:lnTo>
                      <a:pt x="1166" y="537"/>
                    </a:lnTo>
                    <a:lnTo>
                      <a:pt x="1210" y="537"/>
                    </a:lnTo>
                    <a:lnTo>
                      <a:pt x="1210" y="580"/>
                    </a:lnTo>
                    <a:lnTo>
                      <a:pt x="1166" y="580"/>
                    </a:lnTo>
                    <a:close/>
                    <a:moveTo>
                      <a:pt x="1166" y="531"/>
                    </a:moveTo>
                    <a:lnTo>
                      <a:pt x="1166" y="440"/>
                    </a:lnTo>
                    <a:lnTo>
                      <a:pt x="1210" y="440"/>
                    </a:lnTo>
                    <a:lnTo>
                      <a:pt x="1210" y="531"/>
                    </a:lnTo>
                    <a:lnTo>
                      <a:pt x="1166" y="531"/>
                    </a:lnTo>
                    <a:close/>
                    <a:moveTo>
                      <a:pt x="1166" y="435"/>
                    </a:moveTo>
                    <a:lnTo>
                      <a:pt x="1166" y="391"/>
                    </a:lnTo>
                    <a:lnTo>
                      <a:pt x="1210" y="391"/>
                    </a:lnTo>
                    <a:lnTo>
                      <a:pt x="1210" y="435"/>
                    </a:lnTo>
                    <a:lnTo>
                      <a:pt x="1166" y="435"/>
                    </a:lnTo>
                    <a:close/>
                    <a:moveTo>
                      <a:pt x="1166" y="387"/>
                    </a:moveTo>
                    <a:lnTo>
                      <a:pt x="1166" y="343"/>
                    </a:lnTo>
                    <a:lnTo>
                      <a:pt x="1210" y="343"/>
                    </a:lnTo>
                    <a:lnTo>
                      <a:pt x="1210" y="387"/>
                    </a:lnTo>
                    <a:lnTo>
                      <a:pt x="1166" y="387"/>
                    </a:lnTo>
                    <a:close/>
                    <a:moveTo>
                      <a:pt x="1166" y="338"/>
                    </a:moveTo>
                    <a:lnTo>
                      <a:pt x="1166" y="294"/>
                    </a:lnTo>
                    <a:lnTo>
                      <a:pt x="1210" y="294"/>
                    </a:lnTo>
                    <a:lnTo>
                      <a:pt x="1210" y="338"/>
                    </a:lnTo>
                    <a:lnTo>
                      <a:pt x="1166" y="338"/>
                    </a:lnTo>
                    <a:close/>
                    <a:moveTo>
                      <a:pt x="1162" y="338"/>
                    </a:moveTo>
                    <a:lnTo>
                      <a:pt x="1118" y="338"/>
                    </a:lnTo>
                    <a:lnTo>
                      <a:pt x="1118" y="294"/>
                    </a:lnTo>
                    <a:lnTo>
                      <a:pt x="1162" y="294"/>
                    </a:lnTo>
                    <a:lnTo>
                      <a:pt x="1162" y="338"/>
                    </a:lnTo>
                    <a:close/>
                    <a:moveTo>
                      <a:pt x="1113" y="338"/>
                    </a:moveTo>
                    <a:lnTo>
                      <a:pt x="1069" y="338"/>
                    </a:lnTo>
                    <a:lnTo>
                      <a:pt x="1069" y="294"/>
                    </a:lnTo>
                    <a:lnTo>
                      <a:pt x="1113" y="294"/>
                    </a:lnTo>
                    <a:lnTo>
                      <a:pt x="1113" y="338"/>
                    </a:lnTo>
                    <a:close/>
                    <a:moveTo>
                      <a:pt x="1065" y="338"/>
                    </a:moveTo>
                    <a:lnTo>
                      <a:pt x="1021" y="338"/>
                    </a:lnTo>
                    <a:lnTo>
                      <a:pt x="1021" y="294"/>
                    </a:lnTo>
                    <a:lnTo>
                      <a:pt x="1065" y="294"/>
                    </a:lnTo>
                    <a:lnTo>
                      <a:pt x="1065" y="338"/>
                    </a:lnTo>
                    <a:close/>
                    <a:moveTo>
                      <a:pt x="1016" y="338"/>
                    </a:moveTo>
                    <a:lnTo>
                      <a:pt x="972" y="338"/>
                    </a:lnTo>
                    <a:lnTo>
                      <a:pt x="972" y="294"/>
                    </a:lnTo>
                    <a:lnTo>
                      <a:pt x="1016" y="294"/>
                    </a:lnTo>
                    <a:lnTo>
                      <a:pt x="1016" y="338"/>
                    </a:lnTo>
                    <a:close/>
                    <a:moveTo>
                      <a:pt x="967" y="338"/>
                    </a:moveTo>
                    <a:lnTo>
                      <a:pt x="924" y="338"/>
                    </a:lnTo>
                    <a:lnTo>
                      <a:pt x="924" y="294"/>
                    </a:lnTo>
                    <a:lnTo>
                      <a:pt x="967" y="294"/>
                    </a:lnTo>
                    <a:lnTo>
                      <a:pt x="967" y="338"/>
                    </a:lnTo>
                    <a:close/>
                    <a:moveTo>
                      <a:pt x="919" y="338"/>
                    </a:moveTo>
                    <a:lnTo>
                      <a:pt x="875" y="338"/>
                    </a:lnTo>
                    <a:lnTo>
                      <a:pt x="875" y="294"/>
                    </a:lnTo>
                    <a:lnTo>
                      <a:pt x="919" y="294"/>
                    </a:lnTo>
                    <a:lnTo>
                      <a:pt x="919" y="338"/>
                    </a:lnTo>
                    <a:close/>
                    <a:moveTo>
                      <a:pt x="870" y="338"/>
                    </a:moveTo>
                    <a:lnTo>
                      <a:pt x="826" y="338"/>
                    </a:lnTo>
                    <a:lnTo>
                      <a:pt x="826" y="294"/>
                    </a:lnTo>
                    <a:lnTo>
                      <a:pt x="870" y="294"/>
                    </a:lnTo>
                    <a:lnTo>
                      <a:pt x="870" y="338"/>
                    </a:lnTo>
                    <a:close/>
                    <a:moveTo>
                      <a:pt x="822" y="338"/>
                    </a:moveTo>
                    <a:lnTo>
                      <a:pt x="729" y="338"/>
                    </a:lnTo>
                    <a:lnTo>
                      <a:pt x="729" y="294"/>
                    </a:lnTo>
                    <a:lnTo>
                      <a:pt x="822" y="294"/>
                    </a:lnTo>
                    <a:lnTo>
                      <a:pt x="822" y="338"/>
                    </a:lnTo>
                    <a:close/>
                    <a:moveTo>
                      <a:pt x="725" y="338"/>
                    </a:moveTo>
                    <a:lnTo>
                      <a:pt x="681" y="338"/>
                    </a:lnTo>
                    <a:lnTo>
                      <a:pt x="681" y="294"/>
                    </a:lnTo>
                    <a:lnTo>
                      <a:pt x="725" y="294"/>
                    </a:lnTo>
                    <a:lnTo>
                      <a:pt x="725" y="338"/>
                    </a:lnTo>
                    <a:close/>
                    <a:moveTo>
                      <a:pt x="676" y="338"/>
                    </a:moveTo>
                    <a:lnTo>
                      <a:pt x="632" y="338"/>
                    </a:lnTo>
                    <a:lnTo>
                      <a:pt x="632" y="294"/>
                    </a:lnTo>
                    <a:lnTo>
                      <a:pt x="676" y="294"/>
                    </a:lnTo>
                    <a:lnTo>
                      <a:pt x="676" y="338"/>
                    </a:lnTo>
                    <a:close/>
                    <a:moveTo>
                      <a:pt x="628" y="338"/>
                    </a:moveTo>
                    <a:lnTo>
                      <a:pt x="584" y="338"/>
                    </a:lnTo>
                    <a:lnTo>
                      <a:pt x="584" y="294"/>
                    </a:lnTo>
                    <a:lnTo>
                      <a:pt x="628" y="294"/>
                    </a:lnTo>
                    <a:lnTo>
                      <a:pt x="628" y="338"/>
                    </a:lnTo>
                    <a:close/>
                    <a:moveTo>
                      <a:pt x="579" y="338"/>
                    </a:moveTo>
                    <a:lnTo>
                      <a:pt x="535" y="338"/>
                    </a:lnTo>
                    <a:lnTo>
                      <a:pt x="535" y="294"/>
                    </a:lnTo>
                    <a:lnTo>
                      <a:pt x="579" y="294"/>
                    </a:lnTo>
                    <a:lnTo>
                      <a:pt x="579" y="338"/>
                    </a:lnTo>
                    <a:close/>
                    <a:moveTo>
                      <a:pt x="531" y="338"/>
                    </a:moveTo>
                    <a:lnTo>
                      <a:pt x="487" y="338"/>
                    </a:lnTo>
                    <a:lnTo>
                      <a:pt x="487" y="294"/>
                    </a:lnTo>
                    <a:lnTo>
                      <a:pt x="531" y="294"/>
                    </a:lnTo>
                    <a:lnTo>
                      <a:pt x="531" y="338"/>
                    </a:lnTo>
                    <a:close/>
                    <a:moveTo>
                      <a:pt x="482" y="338"/>
                    </a:moveTo>
                    <a:lnTo>
                      <a:pt x="438" y="338"/>
                    </a:lnTo>
                    <a:lnTo>
                      <a:pt x="438" y="294"/>
                    </a:lnTo>
                    <a:lnTo>
                      <a:pt x="482" y="294"/>
                    </a:lnTo>
                    <a:lnTo>
                      <a:pt x="482" y="338"/>
                    </a:lnTo>
                    <a:close/>
                    <a:moveTo>
                      <a:pt x="434" y="338"/>
                    </a:moveTo>
                    <a:lnTo>
                      <a:pt x="390" y="338"/>
                    </a:lnTo>
                    <a:lnTo>
                      <a:pt x="390" y="294"/>
                    </a:lnTo>
                    <a:lnTo>
                      <a:pt x="434" y="294"/>
                    </a:lnTo>
                    <a:lnTo>
                      <a:pt x="434" y="338"/>
                    </a:lnTo>
                    <a:close/>
                    <a:moveTo>
                      <a:pt x="385" y="338"/>
                    </a:moveTo>
                    <a:lnTo>
                      <a:pt x="341" y="338"/>
                    </a:lnTo>
                    <a:lnTo>
                      <a:pt x="341" y="294"/>
                    </a:lnTo>
                    <a:lnTo>
                      <a:pt x="385" y="294"/>
                    </a:lnTo>
                    <a:lnTo>
                      <a:pt x="385" y="338"/>
                    </a:lnTo>
                    <a:close/>
                    <a:moveTo>
                      <a:pt x="337" y="338"/>
                    </a:moveTo>
                    <a:lnTo>
                      <a:pt x="293" y="338"/>
                    </a:lnTo>
                    <a:lnTo>
                      <a:pt x="293" y="294"/>
                    </a:lnTo>
                    <a:lnTo>
                      <a:pt x="337" y="294"/>
                    </a:lnTo>
                    <a:lnTo>
                      <a:pt x="337" y="338"/>
                    </a:lnTo>
                    <a:close/>
                    <a:moveTo>
                      <a:pt x="337" y="343"/>
                    </a:moveTo>
                    <a:lnTo>
                      <a:pt x="337" y="387"/>
                    </a:lnTo>
                    <a:lnTo>
                      <a:pt x="293" y="387"/>
                    </a:lnTo>
                    <a:lnTo>
                      <a:pt x="293" y="343"/>
                    </a:lnTo>
                    <a:lnTo>
                      <a:pt x="337" y="343"/>
                    </a:lnTo>
                    <a:close/>
                    <a:moveTo>
                      <a:pt x="337" y="391"/>
                    </a:moveTo>
                    <a:lnTo>
                      <a:pt x="337" y="435"/>
                    </a:lnTo>
                    <a:lnTo>
                      <a:pt x="293" y="435"/>
                    </a:lnTo>
                    <a:lnTo>
                      <a:pt x="293" y="391"/>
                    </a:lnTo>
                    <a:lnTo>
                      <a:pt x="337" y="391"/>
                    </a:lnTo>
                    <a:close/>
                    <a:moveTo>
                      <a:pt x="337" y="440"/>
                    </a:moveTo>
                    <a:lnTo>
                      <a:pt x="337" y="531"/>
                    </a:lnTo>
                    <a:lnTo>
                      <a:pt x="293" y="531"/>
                    </a:lnTo>
                    <a:lnTo>
                      <a:pt x="293" y="440"/>
                    </a:lnTo>
                    <a:lnTo>
                      <a:pt x="337" y="440"/>
                    </a:lnTo>
                    <a:close/>
                    <a:moveTo>
                      <a:pt x="337" y="537"/>
                    </a:moveTo>
                    <a:lnTo>
                      <a:pt x="337" y="580"/>
                    </a:lnTo>
                    <a:lnTo>
                      <a:pt x="293" y="580"/>
                    </a:lnTo>
                    <a:lnTo>
                      <a:pt x="293" y="537"/>
                    </a:lnTo>
                    <a:lnTo>
                      <a:pt x="337" y="537"/>
                    </a:lnTo>
                    <a:close/>
                    <a:moveTo>
                      <a:pt x="337" y="586"/>
                    </a:moveTo>
                    <a:lnTo>
                      <a:pt x="337" y="628"/>
                    </a:lnTo>
                    <a:lnTo>
                      <a:pt x="293" y="628"/>
                    </a:lnTo>
                    <a:lnTo>
                      <a:pt x="293" y="586"/>
                    </a:lnTo>
                    <a:lnTo>
                      <a:pt x="337" y="586"/>
                    </a:lnTo>
                    <a:close/>
                    <a:moveTo>
                      <a:pt x="337" y="634"/>
                    </a:moveTo>
                    <a:lnTo>
                      <a:pt x="337" y="677"/>
                    </a:lnTo>
                    <a:lnTo>
                      <a:pt x="293" y="677"/>
                    </a:lnTo>
                    <a:lnTo>
                      <a:pt x="293" y="634"/>
                    </a:lnTo>
                    <a:lnTo>
                      <a:pt x="337" y="634"/>
                    </a:lnTo>
                    <a:close/>
                    <a:moveTo>
                      <a:pt x="341" y="634"/>
                    </a:moveTo>
                    <a:lnTo>
                      <a:pt x="385" y="634"/>
                    </a:lnTo>
                    <a:lnTo>
                      <a:pt x="385" y="677"/>
                    </a:lnTo>
                    <a:lnTo>
                      <a:pt x="341" y="677"/>
                    </a:lnTo>
                    <a:lnTo>
                      <a:pt x="341" y="634"/>
                    </a:lnTo>
                    <a:close/>
                    <a:moveTo>
                      <a:pt x="390" y="634"/>
                    </a:moveTo>
                    <a:lnTo>
                      <a:pt x="434" y="634"/>
                    </a:lnTo>
                    <a:lnTo>
                      <a:pt x="434" y="677"/>
                    </a:lnTo>
                    <a:lnTo>
                      <a:pt x="390" y="677"/>
                    </a:lnTo>
                    <a:lnTo>
                      <a:pt x="390" y="634"/>
                    </a:lnTo>
                    <a:close/>
                    <a:moveTo>
                      <a:pt x="438" y="634"/>
                    </a:moveTo>
                    <a:lnTo>
                      <a:pt x="482" y="634"/>
                    </a:lnTo>
                    <a:lnTo>
                      <a:pt x="482" y="677"/>
                    </a:lnTo>
                    <a:lnTo>
                      <a:pt x="438" y="677"/>
                    </a:lnTo>
                    <a:lnTo>
                      <a:pt x="438" y="634"/>
                    </a:lnTo>
                    <a:close/>
                    <a:moveTo>
                      <a:pt x="487" y="634"/>
                    </a:moveTo>
                    <a:lnTo>
                      <a:pt x="531" y="634"/>
                    </a:lnTo>
                    <a:lnTo>
                      <a:pt x="531" y="677"/>
                    </a:lnTo>
                    <a:lnTo>
                      <a:pt x="487" y="677"/>
                    </a:lnTo>
                    <a:lnTo>
                      <a:pt x="487" y="634"/>
                    </a:lnTo>
                    <a:close/>
                    <a:moveTo>
                      <a:pt x="535" y="634"/>
                    </a:moveTo>
                    <a:lnTo>
                      <a:pt x="579" y="634"/>
                    </a:lnTo>
                    <a:lnTo>
                      <a:pt x="579" y="677"/>
                    </a:lnTo>
                    <a:lnTo>
                      <a:pt x="535" y="677"/>
                    </a:lnTo>
                    <a:lnTo>
                      <a:pt x="535" y="634"/>
                    </a:lnTo>
                    <a:close/>
                    <a:moveTo>
                      <a:pt x="584" y="634"/>
                    </a:moveTo>
                    <a:lnTo>
                      <a:pt x="628" y="634"/>
                    </a:lnTo>
                    <a:lnTo>
                      <a:pt x="628" y="677"/>
                    </a:lnTo>
                    <a:lnTo>
                      <a:pt x="584" y="677"/>
                    </a:lnTo>
                    <a:lnTo>
                      <a:pt x="584" y="634"/>
                    </a:lnTo>
                    <a:close/>
                    <a:moveTo>
                      <a:pt x="632" y="634"/>
                    </a:moveTo>
                    <a:lnTo>
                      <a:pt x="676" y="634"/>
                    </a:lnTo>
                    <a:lnTo>
                      <a:pt x="676" y="677"/>
                    </a:lnTo>
                    <a:lnTo>
                      <a:pt x="632" y="677"/>
                    </a:lnTo>
                    <a:lnTo>
                      <a:pt x="632" y="634"/>
                    </a:lnTo>
                    <a:close/>
                    <a:moveTo>
                      <a:pt x="681" y="634"/>
                    </a:moveTo>
                    <a:lnTo>
                      <a:pt x="725" y="634"/>
                    </a:lnTo>
                    <a:lnTo>
                      <a:pt x="725" y="677"/>
                    </a:lnTo>
                    <a:lnTo>
                      <a:pt x="681" y="677"/>
                    </a:lnTo>
                    <a:lnTo>
                      <a:pt x="681" y="634"/>
                    </a:lnTo>
                    <a:close/>
                    <a:moveTo>
                      <a:pt x="729" y="634"/>
                    </a:moveTo>
                    <a:lnTo>
                      <a:pt x="822" y="634"/>
                    </a:lnTo>
                    <a:lnTo>
                      <a:pt x="822" y="677"/>
                    </a:lnTo>
                    <a:lnTo>
                      <a:pt x="729" y="677"/>
                    </a:lnTo>
                    <a:lnTo>
                      <a:pt x="729" y="634"/>
                    </a:lnTo>
                    <a:close/>
                    <a:moveTo>
                      <a:pt x="826" y="634"/>
                    </a:moveTo>
                    <a:lnTo>
                      <a:pt x="870" y="634"/>
                    </a:lnTo>
                    <a:lnTo>
                      <a:pt x="870" y="677"/>
                    </a:lnTo>
                    <a:lnTo>
                      <a:pt x="826" y="677"/>
                    </a:lnTo>
                    <a:lnTo>
                      <a:pt x="826" y="634"/>
                    </a:lnTo>
                    <a:close/>
                    <a:moveTo>
                      <a:pt x="875" y="634"/>
                    </a:moveTo>
                    <a:lnTo>
                      <a:pt x="919" y="634"/>
                    </a:lnTo>
                    <a:lnTo>
                      <a:pt x="919" y="677"/>
                    </a:lnTo>
                    <a:lnTo>
                      <a:pt x="875" y="677"/>
                    </a:lnTo>
                    <a:lnTo>
                      <a:pt x="875" y="634"/>
                    </a:lnTo>
                    <a:close/>
                    <a:moveTo>
                      <a:pt x="924" y="634"/>
                    </a:moveTo>
                    <a:lnTo>
                      <a:pt x="967" y="634"/>
                    </a:lnTo>
                    <a:lnTo>
                      <a:pt x="967" y="677"/>
                    </a:lnTo>
                    <a:lnTo>
                      <a:pt x="924" y="677"/>
                    </a:lnTo>
                    <a:lnTo>
                      <a:pt x="924" y="634"/>
                    </a:lnTo>
                    <a:close/>
                    <a:moveTo>
                      <a:pt x="972" y="634"/>
                    </a:moveTo>
                    <a:lnTo>
                      <a:pt x="1016" y="634"/>
                    </a:lnTo>
                    <a:lnTo>
                      <a:pt x="1016" y="677"/>
                    </a:lnTo>
                    <a:lnTo>
                      <a:pt x="972" y="677"/>
                    </a:lnTo>
                    <a:lnTo>
                      <a:pt x="972" y="634"/>
                    </a:lnTo>
                    <a:close/>
                    <a:moveTo>
                      <a:pt x="1021" y="634"/>
                    </a:moveTo>
                    <a:lnTo>
                      <a:pt x="1065" y="634"/>
                    </a:lnTo>
                    <a:lnTo>
                      <a:pt x="1065" y="677"/>
                    </a:lnTo>
                    <a:lnTo>
                      <a:pt x="1021" y="677"/>
                    </a:lnTo>
                    <a:lnTo>
                      <a:pt x="1021" y="634"/>
                    </a:lnTo>
                    <a:close/>
                    <a:moveTo>
                      <a:pt x="1069" y="634"/>
                    </a:moveTo>
                    <a:lnTo>
                      <a:pt x="1113" y="634"/>
                    </a:lnTo>
                    <a:lnTo>
                      <a:pt x="1113" y="677"/>
                    </a:lnTo>
                    <a:lnTo>
                      <a:pt x="1069" y="677"/>
                    </a:lnTo>
                    <a:lnTo>
                      <a:pt x="1069" y="634"/>
                    </a:lnTo>
                    <a:close/>
                    <a:moveTo>
                      <a:pt x="1118" y="634"/>
                    </a:moveTo>
                    <a:lnTo>
                      <a:pt x="1162" y="634"/>
                    </a:lnTo>
                    <a:lnTo>
                      <a:pt x="1162" y="677"/>
                    </a:lnTo>
                    <a:lnTo>
                      <a:pt x="1118" y="677"/>
                    </a:lnTo>
                    <a:lnTo>
                      <a:pt x="1118" y="634"/>
                    </a:lnTo>
                    <a:close/>
                    <a:moveTo>
                      <a:pt x="1166" y="634"/>
                    </a:moveTo>
                    <a:lnTo>
                      <a:pt x="1210" y="634"/>
                    </a:lnTo>
                    <a:lnTo>
                      <a:pt x="1210" y="677"/>
                    </a:lnTo>
                    <a:lnTo>
                      <a:pt x="1166" y="677"/>
                    </a:lnTo>
                    <a:lnTo>
                      <a:pt x="1166" y="634"/>
                    </a:lnTo>
                    <a:close/>
                    <a:moveTo>
                      <a:pt x="1215" y="634"/>
                    </a:moveTo>
                    <a:lnTo>
                      <a:pt x="1259" y="634"/>
                    </a:lnTo>
                    <a:lnTo>
                      <a:pt x="1259" y="677"/>
                    </a:lnTo>
                    <a:lnTo>
                      <a:pt x="1215" y="677"/>
                    </a:lnTo>
                    <a:lnTo>
                      <a:pt x="1215" y="634"/>
                    </a:lnTo>
                    <a:close/>
                    <a:moveTo>
                      <a:pt x="1215" y="628"/>
                    </a:moveTo>
                    <a:lnTo>
                      <a:pt x="1215" y="586"/>
                    </a:lnTo>
                    <a:lnTo>
                      <a:pt x="1259" y="586"/>
                    </a:lnTo>
                    <a:lnTo>
                      <a:pt x="1259" y="628"/>
                    </a:lnTo>
                    <a:lnTo>
                      <a:pt x="1215" y="628"/>
                    </a:lnTo>
                    <a:close/>
                    <a:moveTo>
                      <a:pt x="1215" y="580"/>
                    </a:moveTo>
                    <a:lnTo>
                      <a:pt x="1215" y="537"/>
                    </a:lnTo>
                    <a:lnTo>
                      <a:pt x="1259" y="537"/>
                    </a:lnTo>
                    <a:lnTo>
                      <a:pt x="1259" y="580"/>
                    </a:lnTo>
                    <a:lnTo>
                      <a:pt x="1215" y="580"/>
                    </a:lnTo>
                    <a:close/>
                    <a:moveTo>
                      <a:pt x="1215" y="531"/>
                    </a:moveTo>
                    <a:lnTo>
                      <a:pt x="1215" y="440"/>
                    </a:lnTo>
                    <a:lnTo>
                      <a:pt x="1259" y="440"/>
                    </a:lnTo>
                    <a:lnTo>
                      <a:pt x="1259" y="531"/>
                    </a:lnTo>
                    <a:lnTo>
                      <a:pt x="1215" y="531"/>
                    </a:lnTo>
                    <a:close/>
                    <a:moveTo>
                      <a:pt x="1215" y="435"/>
                    </a:moveTo>
                    <a:lnTo>
                      <a:pt x="1215" y="391"/>
                    </a:lnTo>
                    <a:lnTo>
                      <a:pt x="1259" y="391"/>
                    </a:lnTo>
                    <a:lnTo>
                      <a:pt x="1259" y="435"/>
                    </a:lnTo>
                    <a:lnTo>
                      <a:pt x="1215" y="435"/>
                    </a:lnTo>
                    <a:close/>
                    <a:moveTo>
                      <a:pt x="1215" y="387"/>
                    </a:moveTo>
                    <a:lnTo>
                      <a:pt x="1215" y="343"/>
                    </a:lnTo>
                    <a:lnTo>
                      <a:pt x="1259" y="343"/>
                    </a:lnTo>
                    <a:lnTo>
                      <a:pt x="1259" y="387"/>
                    </a:lnTo>
                    <a:lnTo>
                      <a:pt x="1215" y="387"/>
                    </a:lnTo>
                    <a:close/>
                    <a:moveTo>
                      <a:pt x="1215" y="338"/>
                    </a:moveTo>
                    <a:lnTo>
                      <a:pt x="1215" y="294"/>
                    </a:lnTo>
                    <a:lnTo>
                      <a:pt x="1259" y="294"/>
                    </a:lnTo>
                    <a:lnTo>
                      <a:pt x="1259" y="338"/>
                    </a:lnTo>
                    <a:lnTo>
                      <a:pt x="1215" y="338"/>
                    </a:lnTo>
                    <a:close/>
                    <a:moveTo>
                      <a:pt x="1215" y="290"/>
                    </a:moveTo>
                    <a:lnTo>
                      <a:pt x="1215" y="246"/>
                    </a:lnTo>
                    <a:lnTo>
                      <a:pt x="1259" y="246"/>
                    </a:lnTo>
                    <a:lnTo>
                      <a:pt x="1259" y="290"/>
                    </a:lnTo>
                    <a:lnTo>
                      <a:pt x="1215" y="290"/>
                    </a:lnTo>
                    <a:close/>
                    <a:moveTo>
                      <a:pt x="1210" y="290"/>
                    </a:moveTo>
                    <a:lnTo>
                      <a:pt x="1166" y="290"/>
                    </a:lnTo>
                    <a:lnTo>
                      <a:pt x="1166" y="246"/>
                    </a:lnTo>
                    <a:lnTo>
                      <a:pt x="1210" y="246"/>
                    </a:lnTo>
                    <a:lnTo>
                      <a:pt x="1210" y="290"/>
                    </a:lnTo>
                    <a:close/>
                    <a:moveTo>
                      <a:pt x="1162" y="290"/>
                    </a:moveTo>
                    <a:lnTo>
                      <a:pt x="1118" y="290"/>
                    </a:lnTo>
                    <a:lnTo>
                      <a:pt x="1118" y="246"/>
                    </a:lnTo>
                    <a:lnTo>
                      <a:pt x="1162" y="246"/>
                    </a:lnTo>
                    <a:lnTo>
                      <a:pt x="1162" y="290"/>
                    </a:lnTo>
                    <a:close/>
                    <a:moveTo>
                      <a:pt x="1113" y="290"/>
                    </a:moveTo>
                    <a:lnTo>
                      <a:pt x="1069" y="290"/>
                    </a:lnTo>
                    <a:lnTo>
                      <a:pt x="1069" y="246"/>
                    </a:lnTo>
                    <a:lnTo>
                      <a:pt x="1113" y="246"/>
                    </a:lnTo>
                    <a:lnTo>
                      <a:pt x="1113" y="290"/>
                    </a:lnTo>
                    <a:close/>
                    <a:moveTo>
                      <a:pt x="1065" y="290"/>
                    </a:moveTo>
                    <a:lnTo>
                      <a:pt x="1021" y="290"/>
                    </a:lnTo>
                    <a:lnTo>
                      <a:pt x="1021" y="246"/>
                    </a:lnTo>
                    <a:lnTo>
                      <a:pt x="1065" y="246"/>
                    </a:lnTo>
                    <a:lnTo>
                      <a:pt x="1065" y="290"/>
                    </a:lnTo>
                    <a:close/>
                    <a:moveTo>
                      <a:pt x="1016" y="290"/>
                    </a:moveTo>
                    <a:lnTo>
                      <a:pt x="972" y="290"/>
                    </a:lnTo>
                    <a:lnTo>
                      <a:pt x="972" y="246"/>
                    </a:lnTo>
                    <a:lnTo>
                      <a:pt x="1016" y="246"/>
                    </a:lnTo>
                    <a:lnTo>
                      <a:pt x="1016" y="290"/>
                    </a:lnTo>
                    <a:close/>
                    <a:moveTo>
                      <a:pt x="967" y="290"/>
                    </a:moveTo>
                    <a:lnTo>
                      <a:pt x="924" y="290"/>
                    </a:lnTo>
                    <a:lnTo>
                      <a:pt x="924" y="246"/>
                    </a:lnTo>
                    <a:lnTo>
                      <a:pt x="967" y="246"/>
                    </a:lnTo>
                    <a:lnTo>
                      <a:pt x="967" y="290"/>
                    </a:lnTo>
                    <a:close/>
                    <a:moveTo>
                      <a:pt x="919" y="290"/>
                    </a:moveTo>
                    <a:lnTo>
                      <a:pt x="875" y="290"/>
                    </a:lnTo>
                    <a:lnTo>
                      <a:pt x="875" y="246"/>
                    </a:lnTo>
                    <a:lnTo>
                      <a:pt x="919" y="246"/>
                    </a:lnTo>
                    <a:lnTo>
                      <a:pt x="919" y="290"/>
                    </a:lnTo>
                    <a:close/>
                    <a:moveTo>
                      <a:pt x="870" y="290"/>
                    </a:moveTo>
                    <a:lnTo>
                      <a:pt x="826" y="290"/>
                    </a:lnTo>
                    <a:lnTo>
                      <a:pt x="826" y="246"/>
                    </a:lnTo>
                    <a:lnTo>
                      <a:pt x="870" y="246"/>
                    </a:lnTo>
                    <a:lnTo>
                      <a:pt x="870" y="290"/>
                    </a:lnTo>
                    <a:close/>
                    <a:moveTo>
                      <a:pt x="822" y="290"/>
                    </a:moveTo>
                    <a:lnTo>
                      <a:pt x="729" y="290"/>
                    </a:lnTo>
                    <a:lnTo>
                      <a:pt x="729" y="246"/>
                    </a:lnTo>
                    <a:lnTo>
                      <a:pt x="822" y="246"/>
                    </a:lnTo>
                    <a:lnTo>
                      <a:pt x="822" y="290"/>
                    </a:lnTo>
                    <a:close/>
                    <a:moveTo>
                      <a:pt x="725" y="290"/>
                    </a:moveTo>
                    <a:lnTo>
                      <a:pt x="681" y="290"/>
                    </a:lnTo>
                    <a:lnTo>
                      <a:pt x="681" y="246"/>
                    </a:lnTo>
                    <a:lnTo>
                      <a:pt x="725" y="246"/>
                    </a:lnTo>
                    <a:lnTo>
                      <a:pt x="725" y="290"/>
                    </a:lnTo>
                    <a:close/>
                    <a:moveTo>
                      <a:pt x="676" y="290"/>
                    </a:moveTo>
                    <a:lnTo>
                      <a:pt x="632" y="290"/>
                    </a:lnTo>
                    <a:lnTo>
                      <a:pt x="632" y="246"/>
                    </a:lnTo>
                    <a:lnTo>
                      <a:pt x="676" y="246"/>
                    </a:lnTo>
                    <a:lnTo>
                      <a:pt x="676" y="290"/>
                    </a:lnTo>
                    <a:close/>
                    <a:moveTo>
                      <a:pt x="628" y="290"/>
                    </a:moveTo>
                    <a:lnTo>
                      <a:pt x="584" y="290"/>
                    </a:lnTo>
                    <a:lnTo>
                      <a:pt x="584" y="246"/>
                    </a:lnTo>
                    <a:lnTo>
                      <a:pt x="628" y="246"/>
                    </a:lnTo>
                    <a:lnTo>
                      <a:pt x="628" y="290"/>
                    </a:lnTo>
                    <a:close/>
                    <a:moveTo>
                      <a:pt x="579" y="290"/>
                    </a:moveTo>
                    <a:lnTo>
                      <a:pt x="535" y="290"/>
                    </a:lnTo>
                    <a:lnTo>
                      <a:pt x="535" y="246"/>
                    </a:lnTo>
                    <a:lnTo>
                      <a:pt x="579" y="246"/>
                    </a:lnTo>
                    <a:lnTo>
                      <a:pt x="579" y="290"/>
                    </a:lnTo>
                    <a:close/>
                    <a:moveTo>
                      <a:pt x="531" y="290"/>
                    </a:moveTo>
                    <a:lnTo>
                      <a:pt x="487" y="290"/>
                    </a:lnTo>
                    <a:lnTo>
                      <a:pt x="487" y="246"/>
                    </a:lnTo>
                    <a:lnTo>
                      <a:pt x="531" y="246"/>
                    </a:lnTo>
                    <a:lnTo>
                      <a:pt x="531" y="290"/>
                    </a:lnTo>
                    <a:close/>
                    <a:moveTo>
                      <a:pt x="482" y="290"/>
                    </a:moveTo>
                    <a:lnTo>
                      <a:pt x="438" y="290"/>
                    </a:lnTo>
                    <a:lnTo>
                      <a:pt x="438" y="246"/>
                    </a:lnTo>
                    <a:lnTo>
                      <a:pt x="482" y="246"/>
                    </a:lnTo>
                    <a:lnTo>
                      <a:pt x="482" y="290"/>
                    </a:lnTo>
                    <a:close/>
                    <a:moveTo>
                      <a:pt x="434" y="290"/>
                    </a:moveTo>
                    <a:lnTo>
                      <a:pt x="390" y="290"/>
                    </a:lnTo>
                    <a:lnTo>
                      <a:pt x="390" y="246"/>
                    </a:lnTo>
                    <a:lnTo>
                      <a:pt x="434" y="246"/>
                    </a:lnTo>
                    <a:lnTo>
                      <a:pt x="434" y="290"/>
                    </a:lnTo>
                    <a:close/>
                    <a:moveTo>
                      <a:pt x="385" y="290"/>
                    </a:moveTo>
                    <a:lnTo>
                      <a:pt x="341" y="290"/>
                    </a:lnTo>
                    <a:lnTo>
                      <a:pt x="341" y="246"/>
                    </a:lnTo>
                    <a:lnTo>
                      <a:pt x="385" y="246"/>
                    </a:lnTo>
                    <a:lnTo>
                      <a:pt x="385" y="290"/>
                    </a:lnTo>
                    <a:close/>
                    <a:moveTo>
                      <a:pt x="337" y="290"/>
                    </a:moveTo>
                    <a:lnTo>
                      <a:pt x="293" y="290"/>
                    </a:lnTo>
                    <a:lnTo>
                      <a:pt x="293" y="246"/>
                    </a:lnTo>
                    <a:lnTo>
                      <a:pt x="337" y="246"/>
                    </a:lnTo>
                    <a:lnTo>
                      <a:pt x="337" y="290"/>
                    </a:lnTo>
                    <a:close/>
                    <a:moveTo>
                      <a:pt x="288" y="290"/>
                    </a:moveTo>
                    <a:lnTo>
                      <a:pt x="246" y="290"/>
                    </a:lnTo>
                    <a:lnTo>
                      <a:pt x="246" y="246"/>
                    </a:lnTo>
                    <a:lnTo>
                      <a:pt x="288" y="246"/>
                    </a:lnTo>
                    <a:lnTo>
                      <a:pt x="288" y="290"/>
                    </a:lnTo>
                    <a:close/>
                    <a:moveTo>
                      <a:pt x="288" y="294"/>
                    </a:moveTo>
                    <a:lnTo>
                      <a:pt x="288" y="338"/>
                    </a:lnTo>
                    <a:lnTo>
                      <a:pt x="246" y="338"/>
                    </a:lnTo>
                    <a:lnTo>
                      <a:pt x="246" y="294"/>
                    </a:lnTo>
                    <a:lnTo>
                      <a:pt x="288" y="294"/>
                    </a:lnTo>
                    <a:close/>
                    <a:moveTo>
                      <a:pt x="288" y="343"/>
                    </a:moveTo>
                    <a:lnTo>
                      <a:pt x="288" y="387"/>
                    </a:lnTo>
                    <a:lnTo>
                      <a:pt x="246" y="387"/>
                    </a:lnTo>
                    <a:lnTo>
                      <a:pt x="246" y="343"/>
                    </a:lnTo>
                    <a:lnTo>
                      <a:pt x="288" y="343"/>
                    </a:lnTo>
                    <a:close/>
                    <a:moveTo>
                      <a:pt x="288" y="391"/>
                    </a:moveTo>
                    <a:lnTo>
                      <a:pt x="288" y="435"/>
                    </a:lnTo>
                    <a:lnTo>
                      <a:pt x="246" y="435"/>
                    </a:lnTo>
                    <a:lnTo>
                      <a:pt x="246" y="391"/>
                    </a:lnTo>
                    <a:lnTo>
                      <a:pt x="288" y="391"/>
                    </a:lnTo>
                    <a:close/>
                    <a:moveTo>
                      <a:pt x="288" y="440"/>
                    </a:moveTo>
                    <a:lnTo>
                      <a:pt x="288" y="531"/>
                    </a:lnTo>
                    <a:lnTo>
                      <a:pt x="246" y="531"/>
                    </a:lnTo>
                    <a:lnTo>
                      <a:pt x="246" y="440"/>
                    </a:lnTo>
                    <a:lnTo>
                      <a:pt x="288" y="440"/>
                    </a:lnTo>
                    <a:close/>
                    <a:moveTo>
                      <a:pt x="288" y="537"/>
                    </a:moveTo>
                    <a:lnTo>
                      <a:pt x="288" y="580"/>
                    </a:lnTo>
                    <a:lnTo>
                      <a:pt x="246" y="580"/>
                    </a:lnTo>
                    <a:lnTo>
                      <a:pt x="246" y="537"/>
                    </a:lnTo>
                    <a:lnTo>
                      <a:pt x="288" y="537"/>
                    </a:lnTo>
                    <a:close/>
                    <a:moveTo>
                      <a:pt x="288" y="586"/>
                    </a:moveTo>
                    <a:lnTo>
                      <a:pt x="288" y="628"/>
                    </a:lnTo>
                    <a:lnTo>
                      <a:pt x="246" y="628"/>
                    </a:lnTo>
                    <a:lnTo>
                      <a:pt x="246" y="586"/>
                    </a:lnTo>
                    <a:lnTo>
                      <a:pt x="288" y="586"/>
                    </a:lnTo>
                    <a:close/>
                    <a:moveTo>
                      <a:pt x="288" y="634"/>
                    </a:moveTo>
                    <a:lnTo>
                      <a:pt x="288" y="677"/>
                    </a:lnTo>
                    <a:lnTo>
                      <a:pt x="246" y="677"/>
                    </a:lnTo>
                    <a:lnTo>
                      <a:pt x="246" y="634"/>
                    </a:lnTo>
                    <a:lnTo>
                      <a:pt x="288" y="634"/>
                    </a:lnTo>
                    <a:close/>
                    <a:moveTo>
                      <a:pt x="288" y="683"/>
                    </a:moveTo>
                    <a:lnTo>
                      <a:pt x="288" y="725"/>
                    </a:lnTo>
                    <a:lnTo>
                      <a:pt x="246" y="725"/>
                    </a:lnTo>
                    <a:lnTo>
                      <a:pt x="246" y="683"/>
                    </a:lnTo>
                    <a:lnTo>
                      <a:pt x="288" y="683"/>
                    </a:lnTo>
                    <a:close/>
                    <a:moveTo>
                      <a:pt x="293" y="683"/>
                    </a:moveTo>
                    <a:lnTo>
                      <a:pt x="337" y="683"/>
                    </a:lnTo>
                    <a:lnTo>
                      <a:pt x="337" y="725"/>
                    </a:lnTo>
                    <a:lnTo>
                      <a:pt x="293" y="725"/>
                    </a:lnTo>
                    <a:lnTo>
                      <a:pt x="293" y="683"/>
                    </a:lnTo>
                    <a:close/>
                    <a:moveTo>
                      <a:pt x="341" y="683"/>
                    </a:moveTo>
                    <a:lnTo>
                      <a:pt x="385" y="683"/>
                    </a:lnTo>
                    <a:lnTo>
                      <a:pt x="385" y="725"/>
                    </a:lnTo>
                    <a:lnTo>
                      <a:pt x="341" y="725"/>
                    </a:lnTo>
                    <a:lnTo>
                      <a:pt x="341" y="683"/>
                    </a:lnTo>
                    <a:close/>
                    <a:moveTo>
                      <a:pt x="390" y="683"/>
                    </a:moveTo>
                    <a:lnTo>
                      <a:pt x="434" y="683"/>
                    </a:lnTo>
                    <a:lnTo>
                      <a:pt x="434" y="725"/>
                    </a:lnTo>
                    <a:lnTo>
                      <a:pt x="390" y="725"/>
                    </a:lnTo>
                    <a:lnTo>
                      <a:pt x="390" y="683"/>
                    </a:lnTo>
                    <a:close/>
                    <a:moveTo>
                      <a:pt x="438" y="683"/>
                    </a:moveTo>
                    <a:lnTo>
                      <a:pt x="482" y="683"/>
                    </a:lnTo>
                    <a:lnTo>
                      <a:pt x="482" y="725"/>
                    </a:lnTo>
                    <a:lnTo>
                      <a:pt x="438" y="725"/>
                    </a:lnTo>
                    <a:lnTo>
                      <a:pt x="438" y="683"/>
                    </a:lnTo>
                    <a:close/>
                    <a:moveTo>
                      <a:pt x="487" y="683"/>
                    </a:moveTo>
                    <a:lnTo>
                      <a:pt x="531" y="683"/>
                    </a:lnTo>
                    <a:lnTo>
                      <a:pt x="531" y="725"/>
                    </a:lnTo>
                    <a:lnTo>
                      <a:pt x="487" y="725"/>
                    </a:lnTo>
                    <a:lnTo>
                      <a:pt x="487" y="683"/>
                    </a:lnTo>
                    <a:close/>
                    <a:moveTo>
                      <a:pt x="535" y="683"/>
                    </a:moveTo>
                    <a:lnTo>
                      <a:pt x="579" y="683"/>
                    </a:lnTo>
                    <a:lnTo>
                      <a:pt x="579" y="725"/>
                    </a:lnTo>
                    <a:lnTo>
                      <a:pt x="535" y="725"/>
                    </a:lnTo>
                    <a:lnTo>
                      <a:pt x="535" y="683"/>
                    </a:lnTo>
                    <a:close/>
                    <a:moveTo>
                      <a:pt x="584" y="683"/>
                    </a:moveTo>
                    <a:lnTo>
                      <a:pt x="628" y="683"/>
                    </a:lnTo>
                    <a:lnTo>
                      <a:pt x="628" y="725"/>
                    </a:lnTo>
                    <a:lnTo>
                      <a:pt x="584" y="725"/>
                    </a:lnTo>
                    <a:lnTo>
                      <a:pt x="584" y="683"/>
                    </a:lnTo>
                    <a:close/>
                    <a:moveTo>
                      <a:pt x="632" y="683"/>
                    </a:moveTo>
                    <a:lnTo>
                      <a:pt x="676" y="683"/>
                    </a:lnTo>
                    <a:lnTo>
                      <a:pt x="676" y="725"/>
                    </a:lnTo>
                    <a:lnTo>
                      <a:pt x="632" y="725"/>
                    </a:lnTo>
                    <a:lnTo>
                      <a:pt x="632" y="683"/>
                    </a:lnTo>
                    <a:close/>
                    <a:moveTo>
                      <a:pt x="681" y="683"/>
                    </a:moveTo>
                    <a:lnTo>
                      <a:pt x="725" y="683"/>
                    </a:lnTo>
                    <a:lnTo>
                      <a:pt x="725" y="725"/>
                    </a:lnTo>
                    <a:lnTo>
                      <a:pt x="681" y="725"/>
                    </a:lnTo>
                    <a:lnTo>
                      <a:pt x="681" y="683"/>
                    </a:lnTo>
                    <a:close/>
                    <a:moveTo>
                      <a:pt x="729" y="683"/>
                    </a:moveTo>
                    <a:lnTo>
                      <a:pt x="822" y="683"/>
                    </a:lnTo>
                    <a:lnTo>
                      <a:pt x="822" y="725"/>
                    </a:lnTo>
                    <a:lnTo>
                      <a:pt x="729" y="725"/>
                    </a:lnTo>
                    <a:lnTo>
                      <a:pt x="729" y="683"/>
                    </a:lnTo>
                    <a:close/>
                    <a:moveTo>
                      <a:pt x="826" y="683"/>
                    </a:moveTo>
                    <a:lnTo>
                      <a:pt x="870" y="683"/>
                    </a:lnTo>
                    <a:lnTo>
                      <a:pt x="870" y="725"/>
                    </a:lnTo>
                    <a:lnTo>
                      <a:pt x="826" y="725"/>
                    </a:lnTo>
                    <a:lnTo>
                      <a:pt x="826" y="683"/>
                    </a:lnTo>
                    <a:close/>
                    <a:moveTo>
                      <a:pt x="875" y="683"/>
                    </a:moveTo>
                    <a:lnTo>
                      <a:pt x="919" y="683"/>
                    </a:lnTo>
                    <a:lnTo>
                      <a:pt x="919" y="725"/>
                    </a:lnTo>
                    <a:lnTo>
                      <a:pt x="875" y="725"/>
                    </a:lnTo>
                    <a:lnTo>
                      <a:pt x="875" y="683"/>
                    </a:lnTo>
                    <a:close/>
                    <a:moveTo>
                      <a:pt x="924" y="683"/>
                    </a:moveTo>
                    <a:lnTo>
                      <a:pt x="967" y="683"/>
                    </a:lnTo>
                    <a:lnTo>
                      <a:pt x="967" y="725"/>
                    </a:lnTo>
                    <a:lnTo>
                      <a:pt x="924" y="725"/>
                    </a:lnTo>
                    <a:lnTo>
                      <a:pt x="924" y="683"/>
                    </a:lnTo>
                    <a:close/>
                    <a:moveTo>
                      <a:pt x="972" y="683"/>
                    </a:moveTo>
                    <a:lnTo>
                      <a:pt x="1016" y="683"/>
                    </a:lnTo>
                    <a:lnTo>
                      <a:pt x="1016" y="725"/>
                    </a:lnTo>
                    <a:lnTo>
                      <a:pt x="972" y="725"/>
                    </a:lnTo>
                    <a:lnTo>
                      <a:pt x="972" y="683"/>
                    </a:lnTo>
                    <a:close/>
                    <a:moveTo>
                      <a:pt x="1021" y="683"/>
                    </a:moveTo>
                    <a:lnTo>
                      <a:pt x="1065" y="683"/>
                    </a:lnTo>
                    <a:lnTo>
                      <a:pt x="1065" y="725"/>
                    </a:lnTo>
                    <a:lnTo>
                      <a:pt x="1021" y="725"/>
                    </a:lnTo>
                    <a:lnTo>
                      <a:pt x="1021" y="683"/>
                    </a:lnTo>
                    <a:close/>
                    <a:moveTo>
                      <a:pt x="1069" y="683"/>
                    </a:moveTo>
                    <a:lnTo>
                      <a:pt x="1113" y="683"/>
                    </a:lnTo>
                    <a:lnTo>
                      <a:pt x="1113" y="725"/>
                    </a:lnTo>
                    <a:lnTo>
                      <a:pt x="1069" y="725"/>
                    </a:lnTo>
                    <a:lnTo>
                      <a:pt x="1069" y="683"/>
                    </a:lnTo>
                    <a:close/>
                    <a:moveTo>
                      <a:pt x="1118" y="683"/>
                    </a:moveTo>
                    <a:lnTo>
                      <a:pt x="1162" y="683"/>
                    </a:lnTo>
                    <a:lnTo>
                      <a:pt x="1162" y="725"/>
                    </a:lnTo>
                    <a:lnTo>
                      <a:pt x="1118" y="725"/>
                    </a:lnTo>
                    <a:lnTo>
                      <a:pt x="1118" y="683"/>
                    </a:lnTo>
                    <a:close/>
                    <a:moveTo>
                      <a:pt x="1166" y="683"/>
                    </a:moveTo>
                    <a:lnTo>
                      <a:pt x="1210" y="683"/>
                    </a:lnTo>
                    <a:lnTo>
                      <a:pt x="1210" y="725"/>
                    </a:lnTo>
                    <a:lnTo>
                      <a:pt x="1166" y="725"/>
                    </a:lnTo>
                    <a:lnTo>
                      <a:pt x="1166" y="683"/>
                    </a:lnTo>
                    <a:close/>
                    <a:moveTo>
                      <a:pt x="1215" y="683"/>
                    </a:moveTo>
                    <a:lnTo>
                      <a:pt x="1259" y="683"/>
                    </a:lnTo>
                    <a:lnTo>
                      <a:pt x="1259" y="725"/>
                    </a:lnTo>
                    <a:lnTo>
                      <a:pt x="1215" y="725"/>
                    </a:lnTo>
                    <a:lnTo>
                      <a:pt x="1215" y="683"/>
                    </a:lnTo>
                    <a:close/>
                    <a:moveTo>
                      <a:pt x="1263" y="683"/>
                    </a:moveTo>
                    <a:lnTo>
                      <a:pt x="1307" y="683"/>
                    </a:lnTo>
                    <a:lnTo>
                      <a:pt x="1307" y="725"/>
                    </a:lnTo>
                    <a:lnTo>
                      <a:pt x="1263" y="725"/>
                    </a:lnTo>
                    <a:lnTo>
                      <a:pt x="1263" y="683"/>
                    </a:lnTo>
                    <a:close/>
                    <a:moveTo>
                      <a:pt x="1263" y="677"/>
                    </a:moveTo>
                    <a:lnTo>
                      <a:pt x="1263" y="634"/>
                    </a:lnTo>
                    <a:lnTo>
                      <a:pt x="1307" y="634"/>
                    </a:lnTo>
                    <a:lnTo>
                      <a:pt x="1307" y="677"/>
                    </a:lnTo>
                    <a:lnTo>
                      <a:pt x="1263" y="677"/>
                    </a:lnTo>
                    <a:close/>
                    <a:moveTo>
                      <a:pt x="1263" y="628"/>
                    </a:moveTo>
                    <a:lnTo>
                      <a:pt x="1263" y="586"/>
                    </a:lnTo>
                    <a:lnTo>
                      <a:pt x="1307" y="586"/>
                    </a:lnTo>
                    <a:lnTo>
                      <a:pt x="1307" y="628"/>
                    </a:lnTo>
                    <a:lnTo>
                      <a:pt x="1263" y="628"/>
                    </a:lnTo>
                    <a:close/>
                    <a:moveTo>
                      <a:pt x="1263" y="580"/>
                    </a:moveTo>
                    <a:lnTo>
                      <a:pt x="1263" y="537"/>
                    </a:lnTo>
                    <a:lnTo>
                      <a:pt x="1307" y="537"/>
                    </a:lnTo>
                    <a:lnTo>
                      <a:pt x="1307" y="580"/>
                    </a:lnTo>
                    <a:lnTo>
                      <a:pt x="1263" y="580"/>
                    </a:lnTo>
                    <a:close/>
                    <a:moveTo>
                      <a:pt x="1263" y="531"/>
                    </a:moveTo>
                    <a:lnTo>
                      <a:pt x="1263" y="440"/>
                    </a:lnTo>
                    <a:lnTo>
                      <a:pt x="1307" y="440"/>
                    </a:lnTo>
                    <a:lnTo>
                      <a:pt x="1307" y="531"/>
                    </a:lnTo>
                    <a:lnTo>
                      <a:pt x="1263" y="531"/>
                    </a:lnTo>
                    <a:close/>
                    <a:moveTo>
                      <a:pt x="1263" y="435"/>
                    </a:moveTo>
                    <a:lnTo>
                      <a:pt x="1263" y="391"/>
                    </a:lnTo>
                    <a:lnTo>
                      <a:pt x="1307" y="391"/>
                    </a:lnTo>
                    <a:lnTo>
                      <a:pt x="1307" y="435"/>
                    </a:lnTo>
                    <a:lnTo>
                      <a:pt x="1263" y="435"/>
                    </a:lnTo>
                    <a:close/>
                    <a:moveTo>
                      <a:pt x="1263" y="387"/>
                    </a:moveTo>
                    <a:lnTo>
                      <a:pt x="1263" y="343"/>
                    </a:lnTo>
                    <a:lnTo>
                      <a:pt x="1307" y="343"/>
                    </a:lnTo>
                    <a:lnTo>
                      <a:pt x="1307" y="387"/>
                    </a:lnTo>
                    <a:lnTo>
                      <a:pt x="1263" y="387"/>
                    </a:lnTo>
                    <a:close/>
                    <a:moveTo>
                      <a:pt x="1263" y="338"/>
                    </a:moveTo>
                    <a:lnTo>
                      <a:pt x="1263" y="294"/>
                    </a:lnTo>
                    <a:lnTo>
                      <a:pt x="1307" y="294"/>
                    </a:lnTo>
                    <a:lnTo>
                      <a:pt x="1307" y="338"/>
                    </a:lnTo>
                    <a:lnTo>
                      <a:pt x="1263" y="338"/>
                    </a:lnTo>
                    <a:close/>
                    <a:moveTo>
                      <a:pt x="1263" y="290"/>
                    </a:moveTo>
                    <a:lnTo>
                      <a:pt x="1263" y="246"/>
                    </a:lnTo>
                    <a:lnTo>
                      <a:pt x="1307" y="246"/>
                    </a:lnTo>
                    <a:lnTo>
                      <a:pt x="1307" y="290"/>
                    </a:lnTo>
                    <a:lnTo>
                      <a:pt x="1263" y="290"/>
                    </a:lnTo>
                    <a:close/>
                    <a:moveTo>
                      <a:pt x="1263" y="241"/>
                    </a:moveTo>
                    <a:lnTo>
                      <a:pt x="1263" y="197"/>
                    </a:lnTo>
                    <a:lnTo>
                      <a:pt x="1307" y="197"/>
                    </a:lnTo>
                    <a:lnTo>
                      <a:pt x="1307" y="241"/>
                    </a:lnTo>
                    <a:lnTo>
                      <a:pt x="1263" y="241"/>
                    </a:lnTo>
                    <a:close/>
                    <a:moveTo>
                      <a:pt x="1259" y="241"/>
                    </a:moveTo>
                    <a:lnTo>
                      <a:pt x="1215" y="241"/>
                    </a:lnTo>
                    <a:lnTo>
                      <a:pt x="1215" y="197"/>
                    </a:lnTo>
                    <a:lnTo>
                      <a:pt x="1259" y="197"/>
                    </a:lnTo>
                    <a:lnTo>
                      <a:pt x="1259" y="241"/>
                    </a:lnTo>
                    <a:close/>
                    <a:moveTo>
                      <a:pt x="1210" y="241"/>
                    </a:moveTo>
                    <a:lnTo>
                      <a:pt x="1166" y="241"/>
                    </a:lnTo>
                    <a:lnTo>
                      <a:pt x="1166" y="197"/>
                    </a:lnTo>
                    <a:lnTo>
                      <a:pt x="1210" y="197"/>
                    </a:lnTo>
                    <a:lnTo>
                      <a:pt x="1210" y="241"/>
                    </a:lnTo>
                    <a:close/>
                    <a:moveTo>
                      <a:pt x="1162" y="241"/>
                    </a:moveTo>
                    <a:lnTo>
                      <a:pt x="1118" y="241"/>
                    </a:lnTo>
                    <a:lnTo>
                      <a:pt x="1118" y="197"/>
                    </a:lnTo>
                    <a:lnTo>
                      <a:pt x="1162" y="197"/>
                    </a:lnTo>
                    <a:lnTo>
                      <a:pt x="1162" y="241"/>
                    </a:lnTo>
                    <a:close/>
                    <a:moveTo>
                      <a:pt x="1113" y="241"/>
                    </a:moveTo>
                    <a:lnTo>
                      <a:pt x="1069" y="241"/>
                    </a:lnTo>
                    <a:lnTo>
                      <a:pt x="1069" y="197"/>
                    </a:lnTo>
                    <a:lnTo>
                      <a:pt x="1113" y="197"/>
                    </a:lnTo>
                    <a:lnTo>
                      <a:pt x="1113" y="241"/>
                    </a:lnTo>
                    <a:close/>
                    <a:moveTo>
                      <a:pt x="1065" y="241"/>
                    </a:moveTo>
                    <a:lnTo>
                      <a:pt x="1021" y="241"/>
                    </a:lnTo>
                    <a:lnTo>
                      <a:pt x="1021" y="197"/>
                    </a:lnTo>
                    <a:lnTo>
                      <a:pt x="1065" y="197"/>
                    </a:lnTo>
                    <a:lnTo>
                      <a:pt x="1065" y="241"/>
                    </a:lnTo>
                    <a:close/>
                    <a:moveTo>
                      <a:pt x="1016" y="241"/>
                    </a:moveTo>
                    <a:lnTo>
                      <a:pt x="972" y="241"/>
                    </a:lnTo>
                    <a:lnTo>
                      <a:pt x="972" y="197"/>
                    </a:lnTo>
                    <a:lnTo>
                      <a:pt x="1016" y="197"/>
                    </a:lnTo>
                    <a:lnTo>
                      <a:pt x="1016" y="241"/>
                    </a:lnTo>
                    <a:close/>
                    <a:moveTo>
                      <a:pt x="967" y="241"/>
                    </a:moveTo>
                    <a:lnTo>
                      <a:pt x="924" y="241"/>
                    </a:lnTo>
                    <a:lnTo>
                      <a:pt x="924" y="197"/>
                    </a:lnTo>
                    <a:lnTo>
                      <a:pt x="967" y="197"/>
                    </a:lnTo>
                    <a:lnTo>
                      <a:pt x="967" y="241"/>
                    </a:lnTo>
                    <a:close/>
                    <a:moveTo>
                      <a:pt x="919" y="241"/>
                    </a:moveTo>
                    <a:lnTo>
                      <a:pt x="875" y="241"/>
                    </a:lnTo>
                    <a:lnTo>
                      <a:pt x="875" y="197"/>
                    </a:lnTo>
                    <a:lnTo>
                      <a:pt x="919" y="197"/>
                    </a:lnTo>
                    <a:lnTo>
                      <a:pt x="919" y="241"/>
                    </a:lnTo>
                    <a:close/>
                    <a:moveTo>
                      <a:pt x="870" y="241"/>
                    </a:moveTo>
                    <a:lnTo>
                      <a:pt x="826" y="241"/>
                    </a:lnTo>
                    <a:lnTo>
                      <a:pt x="826" y="197"/>
                    </a:lnTo>
                    <a:lnTo>
                      <a:pt x="870" y="197"/>
                    </a:lnTo>
                    <a:lnTo>
                      <a:pt x="870" y="241"/>
                    </a:lnTo>
                    <a:close/>
                    <a:moveTo>
                      <a:pt x="822" y="241"/>
                    </a:moveTo>
                    <a:lnTo>
                      <a:pt x="729" y="241"/>
                    </a:lnTo>
                    <a:lnTo>
                      <a:pt x="729" y="197"/>
                    </a:lnTo>
                    <a:lnTo>
                      <a:pt x="822" y="197"/>
                    </a:lnTo>
                    <a:lnTo>
                      <a:pt x="822" y="241"/>
                    </a:lnTo>
                    <a:close/>
                    <a:moveTo>
                      <a:pt x="725" y="241"/>
                    </a:moveTo>
                    <a:lnTo>
                      <a:pt x="681" y="241"/>
                    </a:lnTo>
                    <a:lnTo>
                      <a:pt x="681" y="197"/>
                    </a:lnTo>
                    <a:lnTo>
                      <a:pt x="725" y="197"/>
                    </a:lnTo>
                    <a:lnTo>
                      <a:pt x="725" y="241"/>
                    </a:lnTo>
                    <a:close/>
                    <a:moveTo>
                      <a:pt x="676" y="241"/>
                    </a:moveTo>
                    <a:lnTo>
                      <a:pt x="632" y="241"/>
                    </a:lnTo>
                    <a:lnTo>
                      <a:pt x="632" y="197"/>
                    </a:lnTo>
                    <a:lnTo>
                      <a:pt x="676" y="197"/>
                    </a:lnTo>
                    <a:lnTo>
                      <a:pt x="676" y="241"/>
                    </a:lnTo>
                    <a:close/>
                    <a:moveTo>
                      <a:pt x="628" y="241"/>
                    </a:moveTo>
                    <a:lnTo>
                      <a:pt x="584" y="241"/>
                    </a:lnTo>
                    <a:lnTo>
                      <a:pt x="584" y="197"/>
                    </a:lnTo>
                    <a:lnTo>
                      <a:pt x="628" y="197"/>
                    </a:lnTo>
                    <a:lnTo>
                      <a:pt x="628" y="241"/>
                    </a:lnTo>
                    <a:close/>
                    <a:moveTo>
                      <a:pt x="579" y="241"/>
                    </a:moveTo>
                    <a:lnTo>
                      <a:pt x="535" y="241"/>
                    </a:lnTo>
                    <a:lnTo>
                      <a:pt x="535" y="197"/>
                    </a:lnTo>
                    <a:lnTo>
                      <a:pt x="579" y="197"/>
                    </a:lnTo>
                    <a:lnTo>
                      <a:pt x="579" y="241"/>
                    </a:lnTo>
                    <a:close/>
                    <a:moveTo>
                      <a:pt x="531" y="241"/>
                    </a:moveTo>
                    <a:lnTo>
                      <a:pt x="487" y="241"/>
                    </a:lnTo>
                    <a:lnTo>
                      <a:pt x="487" y="197"/>
                    </a:lnTo>
                    <a:lnTo>
                      <a:pt x="531" y="197"/>
                    </a:lnTo>
                    <a:lnTo>
                      <a:pt x="531" y="241"/>
                    </a:lnTo>
                    <a:close/>
                    <a:moveTo>
                      <a:pt x="482" y="241"/>
                    </a:moveTo>
                    <a:lnTo>
                      <a:pt x="438" y="241"/>
                    </a:lnTo>
                    <a:lnTo>
                      <a:pt x="438" y="197"/>
                    </a:lnTo>
                    <a:lnTo>
                      <a:pt x="482" y="197"/>
                    </a:lnTo>
                    <a:lnTo>
                      <a:pt x="482" y="241"/>
                    </a:lnTo>
                    <a:close/>
                    <a:moveTo>
                      <a:pt x="434" y="241"/>
                    </a:moveTo>
                    <a:lnTo>
                      <a:pt x="390" y="241"/>
                    </a:lnTo>
                    <a:lnTo>
                      <a:pt x="390" y="197"/>
                    </a:lnTo>
                    <a:lnTo>
                      <a:pt x="434" y="197"/>
                    </a:lnTo>
                    <a:lnTo>
                      <a:pt x="434" y="241"/>
                    </a:lnTo>
                    <a:close/>
                    <a:moveTo>
                      <a:pt x="385" y="241"/>
                    </a:moveTo>
                    <a:lnTo>
                      <a:pt x="341" y="241"/>
                    </a:lnTo>
                    <a:lnTo>
                      <a:pt x="341" y="197"/>
                    </a:lnTo>
                    <a:lnTo>
                      <a:pt x="385" y="197"/>
                    </a:lnTo>
                    <a:lnTo>
                      <a:pt x="385" y="241"/>
                    </a:lnTo>
                    <a:close/>
                    <a:moveTo>
                      <a:pt x="337" y="241"/>
                    </a:moveTo>
                    <a:lnTo>
                      <a:pt x="293" y="241"/>
                    </a:lnTo>
                    <a:lnTo>
                      <a:pt x="293" y="197"/>
                    </a:lnTo>
                    <a:lnTo>
                      <a:pt x="337" y="197"/>
                    </a:lnTo>
                    <a:lnTo>
                      <a:pt x="337" y="241"/>
                    </a:lnTo>
                    <a:close/>
                    <a:moveTo>
                      <a:pt x="288" y="241"/>
                    </a:moveTo>
                    <a:lnTo>
                      <a:pt x="246" y="241"/>
                    </a:lnTo>
                    <a:lnTo>
                      <a:pt x="246" y="197"/>
                    </a:lnTo>
                    <a:lnTo>
                      <a:pt x="288" y="197"/>
                    </a:lnTo>
                    <a:lnTo>
                      <a:pt x="288" y="241"/>
                    </a:lnTo>
                    <a:close/>
                    <a:moveTo>
                      <a:pt x="240" y="241"/>
                    </a:moveTo>
                    <a:lnTo>
                      <a:pt x="197" y="241"/>
                    </a:lnTo>
                    <a:lnTo>
                      <a:pt x="197" y="197"/>
                    </a:lnTo>
                    <a:lnTo>
                      <a:pt x="240" y="197"/>
                    </a:lnTo>
                    <a:lnTo>
                      <a:pt x="240" y="241"/>
                    </a:lnTo>
                    <a:close/>
                    <a:moveTo>
                      <a:pt x="240" y="246"/>
                    </a:moveTo>
                    <a:lnTo>
                      <a:pt x="240" y="290"/>
                    </a:lnTo>
                    <a:lnTo>
                      <a:pt x="197" y="290"/>
                    </a:lnTo>
                    <a:lnTo>
                      <a:pt x="197" y="246"/>
                    </a:lnTo>
                    <a:lnTo>
                      <a:pt x="240" y="246"/>
                    </a:lnTo>
                    <a:close/>
                    <a:moveTo>
                      <a:pt x="240" y="294"/>
                    </a:moveTo>
                    <a:lnTo>
                      <a:pt x="240" y="338"/>
                    </a:lnTo>
                    <a:lnTo>
                      <a:pt x="197" y="338"/>
                    </a:lnTo>
                    <a:lnTo>
                      <a:pt x="197" y="294"/>
                    </a:lnTo>
                    <a:lnTo>
                      <a:pt x="240" y="294"/>
                    </a:lnTo>
                    <a:close/>
                    <a:moveTo>
                      <a:pt x="240" y="343"/>
                    </a:moveTo>
                    <a:lnTo>
                      <a:pt x="240" y="387"/>
                    </a:lnTo>
                    <a:lnTo>
                      <a:pt x="197" y="387"/>
                    </a:lnTo>
                    <a:lnTo>
                      <a:pt x="197" y="343"/>
                    </a:lnTo>
                    <a:lnTo>
                      <a:pt x="240" y="343"/>
                    </a:lnTo>
                    <a:close/>
                    <a:moveTo>
                      <a:pt x="240" y="391"/>
                    </a:moveTo>
                    <a:lnTo>
                      <a:pt x="240" y="435"/>
                    </a:lnTo>
                    <a:lnTo>
                      <a:pt x="197" y="435"/>
                    </a:lnTo>
                    <a:lnTo>
                      <a:pt x="197" y="391"/>
                    </a:lnTo>
                    <a:lnTo>
                      <a:pt x="240" y="391"/>
                    </a:lnTo>
                    <a:close/>
                    <a:moveTo>
                      <a:pt x="240" y="440"/>
                    </a:moveTo>
                    <a:lnTo>
                      <a:pt x="240" y="531"/>
                    </a:lnTo>
                    <a:lnTo>
                      <a:pt x="197" y="531"/>
                    </a:lnTo>
                    <a:lnTo>
                      <a:pt x="197" y="440"/>
                    </a:lnTo>
                    <a:lnTo>
                      <a:pt x="240" y="440"/>
                    </a:lnTo>
                    <a:close/>
                    <a:moveTo>
                      <a:pt x="240" y="537"/>
                    </a:moveTo>
                    <a:lnTo>
                      <a:pt x="240" y="580"/>
                    </a:lnTo>
                    <a:lnTo>
                      <a:pt x="197" y="580"/>
                    </a:lnTo>
                    <a:lnTo>
                      <a:pt x="197" y="537"/>
                    </a:lnTo>
                    <a:lnTo>
                      <a:pt x="240" y="537"/>
                    </a:lnTo>
                    <a:close/>
                    <a:moveTo>
                      <a:pt x="240" y="586"/>
                    </a:moveTo>
                    <a:lnTo>
                      <a:pt x="240" y="628"/>
                    </a:lnTo>
                    <a:lnTo>
                      <a:pt x="197" y="628"/>
                    </a:lnTo>
                    <a:lnTo>
                      <a:pt x="197" y="586"/>
                    </a:lnTo>
                    <a:lnTo>
                      <a:pt x="240" y="586"/>
                    </a:lnTo>
                    <a:close/>
                    <a:moveTo>
                      <a:pt x="240" y="634"/>
                    </a:moveTo>
                    <a:lnTo>
                      <a:pt x="240" y="677"/>
                    </a:lnTo>
                    <a:lnTo>
                      <a:pt x="197" y="677"/>
                    </a:lnTo>
                    <a:lnTo>
                      <a:pt x="197" y="634"/>
                    </a:lnTo>
                    <a:lnTo>
                      <a:pt x="240" y="634"/>
                    </a:lnTo>
                    <a:close/>
                    <a:moveTo>
                      <a:pt x="240" y="683"/>
                    </a:moveTo>
                    <a:lnTo>
                      <a:pt x="240" y="725"/>
                    </a:lnTo>
                    <a:lnTo>
                      <a:pt x="197" y="725"/>
                    </a:lnTo>
                    <a:lnTo>
                      <a:pt x="197" y="683"/>
                    </a:lnTo>
                    <a:lnTo>
                      <a:pt x="240" y="683"/>
                    </a:lnTo>
                    <a:close/>
                    <a:moveTo>
                      <a:pt x="240" y="730"/>
                    </a:moveTo>
                    <a:lnTo>
                      <a:pt x="240" y="774"/>
                    </a:lnTo>
                    <a:lnTo>
                      <a:pt x="197" y="774"/>
                    </a:lnTo>
                    <a:lnTo>
                      <a:pt x="197" y="730"/>
                    </a:lnTo>
                    <a:lnTo>
                      <a:pt x="240" y="730"/>
                    </a:lnTo>
                    <a:close/>
                    <a:moveTo>
                      <a:pt x="246" y="730"/>
                    </a:moveTo>
                    <a:lnTo>
                      <a:pt x="288" y="730"/>
                    </a:lnTo>
                    <a:lnTo>
                      <a:pt x="288" y="774"/>
                    </a:lnTo>
                    <a:lnTo>
                      <a:pt x="246" y="774"/>
                    </a:lnTo>
                    <a:lnTo>
                      <a:pt x="246" y="730"/>
                    </a:lnTo>
                    <a:close/>
                    <a:moveTo>
                      <a:pt x="293" y="730"/>
                    </a:moveTo>
                    <a:lnTo>
                      <a:pt x="337" y="730"/>
                    </a:lnTo>
                    <a:lnTo>
                      <a:pt x="337" y="774"/>
                    </a:lnTo>
                    <a:lnTo>
                      <a:pt x="293" y="774"/>
                    </a:lnTo>
                    <a:lnTo>
                      <a:pt x="293" y="730"/>
                    </a:lnTo>
                    <a:close/>
                    <a:moveTo>
                      <a:pt x="341" y="730"/>
                    </a:moveTo>
                    <a:lnTo>
                      <a:pt x="385" y="730"/>
                    </a:lnTo>
                    <a:lnTo>
                      <a:pt x="385" y="774"/>
                    </a:lnTo>
                    <a:lnTo>
                      <a:pt x="341" y="774"/>
                    </a:lnTo>
                    <a:lnTo>
                      <a:pt x="341" y="730"/>
                    </a:lnTo>
                    <a:close/>
                    <a:moveTo>
                      <a:pt x="390" y="730"/>
                    </a:moveTo>
                    <a:lnTo>
                      <a:pt x="434" y="730"/>
                    </a:lnTo>
                    <a:lnTo>
                      <a:pt x="434" y="774"/>
                    </a:lnTo>
                    <a:lnTo>
                      <a:pt x="390" y="774"/>
                    </a:lnTo>
                    <a:lnTo>
                      <a:pt x="390" y="730"/>
                    </a:lnTo>
                    <a:close/>
                    <a:moveTo>
                      <a:pt x="438" y="730"/>
                    </a:moveTo>
                    <a:lnTo>
                      <a:pt x="482" y="730"/>
                    </a:lnTo>
                    <a:lnTo>
                      <a:pt x="482" y="774"/>
                    </a:lnTo>
                    <a:lnTo>
                      <a:pt x="438" y="774"/>
                    </a:lnTo>
                    <a:lnTo>
                      <a:pt x="438" y="730"/>
                    </a:lnTo>
                    <a:close/>
                    <a:moveTo>
                      <a:pt x="487" y="730"/>
                    </a:moveTo>
                    <a:lnTo>
                      <a:pt x="531" y="730"/>
                    </a:lnTo>
                    <a:lnTo>
                      <a:pt x="531" y="774"/>
                    </a:lnTo>
                    <a:lnTo>
                      <a:pt x="487" y="774"/>
                    </a:lnTo>
                    <a:lnTo>
                      <a:pt x="487" y="730"/>
                    </a:lnTo>
                    <a:close/>
                    <a:moveTo>
                      <a:pt x="535" y="730"/>
                    </a:moveTo>
                    <a:lnTo>
                      <a:pt x="579" y="730"/>
                    </a:lnTo>
                    <a:lnTo>
                      <a:pt x="579" y="774"/>
                    </a:lnTo>
                    <a:lnTo>
                      <a:pt x="535" y="774"/>
                    </a:lnTo>
                    <a:lnTo>
                      <a:pt x="535" y="730"/>
                    </a:lnTo>
                    <a:close/>
                    <a:moveTo>
                      <a:pt x="584" y="730"/>
                    </a:moveTo>
                    <a:lnTo>
                      <a:pt x="628" y="730"/>
                    </a:lnTo>
                    <a:lnTo>
                      <a:pt x="628" y="774"/>
                    </a:lnTo>
                    <a:lnTo>
                      <a:pt x="584" y="774"/>
                    </a:lnTo>
                    <a:lnTo>
                      <a:pt x="584" y="730"/>
                    </a:lnTo>
                    <a:close/>
                    <a:moveTo>
                      <a:pt x="632" y="730"/>
                    </a:moveTo>
                    <a:lnTo>
                      <a:pt x="676" y="730"/>
                    </a:lnTo>
                    <a:lnTo>
                      <a:pt x="676" y="774"/>
                    </a:lnTo>
                    <a:lnTo>
                      <a:pt x="632" y="774"/>
                    </a:lnTo>
                    <a:lnTo>
                      <a:pt x="632" y="730"/>
                    </a:lnTo>
                    <a:close/>
                    <a:moveTo>
                      <a:pt x="681" y="730"/>
                    </a:moveTo>
                    <a:lnTo>
                      <a:pt x="725" y="730"/>
                    </a:lnTo>
                    <a:lnTo>
                      <a:pt x="725" y="774"/>
                    </a:lnTo>
                    <a:lnTo>
                      <a:pt x="681" y="774"/>
                    </a:lnTo>
                    <a:lnTo>
                      <a:pt x="681" y="730"/>
                    </a:lnTo>
                    <a:close/>
                    <a:moveTo>
                      <a:pt x="729" y="730"/>
                    </a:moveTo>
                    <a:lnTo>
                      <a:pt x="822" y="730"/>
                    </a:lnTo>
                    <a:lnTo>
                      <a:pt x="822" y="774"/>
                    </a:lnTo>
                    <a:lnTo>
                      <a:pt x="729" y="774"/>
                    </a:lnTo>
                    <a:lnTo>
                      <a:pt x="729" y="730"/>
                    </a:lnTo>
                    <a:close/>
                    <a:moveTo>
                      <a:pt x="826" y="730"/>
                    </a:moveTo>
                    <a:lnTo>
                      <a:pt x="870" y="730"/>
                    </a:lnTo>
                    <a:lnTo>
                      <a:pt x="870" y="774"/>
                    </a:lnTo>
                    <a:lnTo>
                      <a:pt x="826" y="774"/>
                    </a:lnTo>
                    <a:lnTo>
                      <a:pt x="826" y="730"/>
                    </a:lnTo>
                    <a:close/>
                    <a:moveTo>
                      <a:pt x="875" y="730"/>
                    </a:moveTo>
                    <a:lnTo>
                      <a:pt x="919" y="730"/>
                    </a:lnTo>
                    <a:lnTo>
                      <a:pt x="919" y="774"/>
                    </a:lnTo>
                    <a:lnTo>
                      <a:pt x="875" y="774"/>
                    </a:lnTo>
                    <a:lnTo>
                      <a:pt x="875" y="730"/>
                    </a:lnTo>
                    <a:close/>
                    <a:moveTo>
                      <a:pt x="924" y="730"/>
                    </a:moveTo>
                    <a:lnTo>
                      <a:pt x="967" y="730"/>
                    </a:lnTo>
                    <a:lnTo>
                      <a:pt x="967" y="774"/>
                    </a:lnTo>
                    <a:lnTo>
                      <a:pt x="924" y="774"/>
                    </a:lnTo>
                    <a:lnTo>
                      <a:pt x="924" y="730"/>
                    </a:lnTo>
                    <a:close/>
                    <a:moveTo>
                      <a:pt x="972" y="730"/>
                    </a:moveTo>
                    <a:lnTo>
                      <a:pt x="1016" y="730"/>
                    </a:lnTo>
                    <a:lnTo>
                      <a:pt x="1016" y="774"/>
                    </a:lnTo>
                    <a:lnTo>
                      <a:pt x="972" y="774"/>
                    </a:lnTo>
                    <a:lnTo>
                      <a:pt x="972" y="730"/>
                    </a:lnTo>
                    <a:close/>
                    <a:moveTo>
                      <a:pt x="1021" y="730"/>
                    </a:moveTo>
                    <a:lnTo>
                      <a:pt x="1065" y="730"/>
                    </a:lnTo>
                    <a:lnTo>
                      <a:pt x="1065" y="774"/>
                    </a:lnTo>
                    <a:lnTo>
                      <a:pt x="1021" y="774"/>
                    </a:lnTo>
                    <a:lnTo>
                      <a:pt x="1021" y="730"/>
                    </a:lnTo>
                    <a:close/>
                    <a:moveTo>
                      <a:pt x="1069" y="730"/>
                    </a:moveTo>
                    <a:lnTo>
                      <a:pt x="1113" y="730"/>
                    </a:lnTo>
                    <a:lnTo>
                      <a:pt x="1113" y="774"/>
                    </a:lnTo>
                    <a:lnTo>
                      <a:pt x="1069" y="774"/>
                    </a:lnTo>
                    <a:lnTo>
                      <a:pt x="1069" y="730"/>
                    </a:lnTo>
                    <a:close/>
                    <a:moveTo>
                      <a:pt x="1118" y="730"/>
                    </a:moveTo>
                    <a:lnTo>
                      <a:pt x="1162" y="730"/>
                    </a:lnTo>
                    <a:lnTo>
                      <a:pt x="1162" y="774"/>
                    </a:lnTo>
                    <a:lnTo>
                      <a:pt x="1118" y="774"/>
                    </a:lnTo>
                    <a:lnTo>
                      <a:pt x="1118" y="730"/>
                    </a:lnTo>
                    <a:close/>
                    <a:moveTo>
                      <a:pt x="1166" y="730"/>
                    </a:moveTo>
                    <a:lnTo>
                      <a:pt x="1210" y="730"/>
                    </a:lnTo>
                    <a:lnTo>
                      <a:pt x="1210" y="774"/>
                    </a:lnTo>
                    <a:lnTo>
                      <a:pt x="1166" y="774"/>
                    </a:lnTo>
                    <a:lnTo>
                      <a:pt x="1166" y="730"/>
                    </a:lnTo>
                    <a:close/>
                    <a:moveTo>
                      <a:pt x="1215" y="730"/>
                    </a:moveTo>
                    <a:lnTo>
                      <a:pt x="1259" y="730"/>
                    </a:lnTo>
                    <a:lnTo>
                      <a:pt x="1259" y="774"/>
                    </a:lnTo>
                    <a:lnTo>
                      <a:pt x="1215" y="774"/>
                    </a:lnTo>
                    <a:lnTo>
                      <a:pt x="1215" y="730"/>
                    </a:lnTo>
                    <a:close/>
                    <a:moveTo>
                      <a:pt x="1263" y="730"/>
                    </a:moveTo>
                    <a:lnTo>
                      <a:pt x="1307" y="730"/>
                    </a:lnTo>
                    <a:lnTo>
                      <a:pt x="1307" y="774"/>
                    </a:lnTo>
                    <a:lnTo>
                      <a:pt x="1263" y="774"/>
                    </a:lnTo>
                    <a:lnTo>
                      <a:pt x="1263" y="730"/>
                    </a:lnTo>
                    <a:close/>
                    <a:moveTo>
                      <a:pt x="1312" y="730"/>
                    </a:moveTo>
                    <a:lnTo>
                      <a:pt x="1354" y="730"/>
                    </a:lnTo>
                    <a:lnTo>
                      <a:pt x="1354" y="774"/>
                    </a:lnTo>
                    <a:lnTo>
                      <a:pt x="1312" y="774"/>
                    </a:lnTo>
                    <a:lnTo>
                      <a:pt x="1312" y="730"/>
                    </a:lnTo>
                    <a:close/>
                    <a:moveTo>
                      <a:pt x="1312" y="725"/>
                    </a:moveTo>
                    <a:lnTo>
                      <a:pt x="1312" y="683"/>
                    </a:lnTo>
                    <a:lnTo>
                      <a:pt x="1354" y="683"/>
                    </a:lnTo>
                    <a:lnTo>
                      <a:pt x="1354" y="725"/>
                    </a:lnTo>
                    <a:lnTo>
                      <a:pt x="1312" y="725"/>
                    </a:lnTo>
                    <a:close/>
                    <a:moveTo>
                      <a:pt x="1312" y="677"/>
                    </a:moveTo>
                    <a:lnTo>
                      <a:pt x="1312" y="634"/>
                    </a:lnTo>
                    <a:lnTo>
                      <a:pt x="1354" y="634"/>
                    </a:lnTo>
                    <a:lnTo>
                      <a:pt x="1354" y="677"/>
                    </a:lnTo>
                    <a:lnTo>
                      <a:pt x="1312" y="677"/>
                    </a:lnTo>
                    <a:close/>
                    <a:moveTo>
                      <a:pt x="1312" y="628"/>
                    </a:moveTo>
                    <a:lnTo>
                      <a:pt x="1312" y="586"/>
                    </a:lnTo>
                    <a:lnTo>
                      <a:pt x="1354" y="586"/>
                    </a:lnTo>
                    <a:lnTo>
                      <a:pt x="1354" y="628"/>
                    </a:lnTo>
                    <a:lnTo>
                      <a:pt x="1312" y="628"/>
                    </a:lnTo>
                    <a:close/>
                    <a:moveTo>
                      <a:pt x="1312" y="580"/>
                    </a:moveTo>
                    <a:lnTo>
                      <a:pt x="1312" y="537"/>
                    </a:lnTo>
                    <a:lnTo>
                      <a:pt x="1354" y="537"/>
                    </a:lnTo>
                    <a:lnTo>
                      <a:pt x="1354" y="580"/>
                    </a:lnTo>
                    <a:lnTo>
                      <a:pt x="1312" y="580"/>
                    </a:lnTo>
                    <a:close/>
                    <a:moveTo>
                      <a:pt x="1312" y="531"/>
                    </a:moveTo>
                    <a:lnTo>
                      <a:pt x="1312" y="440"/>
                    </a:lnTo>
                    <a:lnTo>
                      <a:pt x="1354" y="440"/>
                    </a:lnTo>
                    <a:lnTo>
                      <a:pt x="1354" y="531"/>
                    </a:lnTo>
                    <a:lnTo>
                      <a:pt x="1312" y="531"/>
                    </a:lnTo>
                    <a:close/>
                    <a:moveTo>
                      <a:pt x="1312" y="435"/>
                    </a:moveTo>
                    <a:lnTo>
                      <a:pt x="1312" y="391"/>
                    </a:lnTo>
                    <a:lnTo>
                      <a:pt x="1354" y="391"/>
                    </a:lnTo>
                    <a:lnTo>
                      <a:pt x="1354" y="435"/>
                    </a:lnTo>
                    <a:lnTo>
                      <a:pt x="1312" y="435"/>
                    </a:lnTo>
                    <a:close/>
                    <a:moveTo>
                      <a:pt x="1312" y="387"/>
                    </a:moveTo>
                    <a:lnTo>
                      <a:pt x="1312" y="343"/>
                    </a:lnTo>
                    <a:lnTo>
                      <a:pt x="1354" y="343"/>
                    </a:lnTo>
                    <a:lnTo>
                      <a:pt x="1354" y="387"/>
                    </a:lnTo>
                    <a:lnTo>
                      <a:pt x="1312" y="387"/>
                    </a:lnTo>
                    <a:close/>
                    <a:moveTo>
                      <a:pt x="1312" y="338"/>
                    </a:moveTo>
                    <a:lnTo>
                      <a:pt x="1312" y="294"/>
                    </a:lnTo>
                    <a:lnTo>
                      <a:pt x="1354" y="294"/>
                    </a:lnTo>
                    <a:lnTo>
                      <a:pt x="1354" y="338"/>
                    </a:lnTo>
                    <a:lnTo>
                      <a:pt x="1312" y="338"/>
                    </a:lnTo>
                    <a:close/>
                    <a:moveTo>
                      <a:pt x="1312" y="290"/>
                    </a:moveTo>
                    <a:lnTo>
                      <a:pt x="1312" y="246"/>
                    </a:lnTo>
                    <a:lnTo>
                      <a:pt x="1354" y="246"/>
                    </a:lnTo>
                    <a:lnTo>
                      <a:pt x="1354" y="290"/>
                    </a:lnTo>
                    <a:lnTo>
                      <a:pt x="1312" y="290"/>
                    </a:lnTo>
                    <a:close/>
                    <a:moveTo>
                      <a:pt x="1312" y="241"/>
                    </a:moveTo>
                    <a:lnTo>
                      <a:pt x="1312" y="197"/>
                    </a:lnTo>
                    <a:lnTo>
                      <a:pt x="1354" y="197"/>
                    </a:lnTo>
                    <a:lnTo>
                      <a:pt x="1354" y="241"/>
                    </a:lnTo>
                    <a:lnTo>
                      <a:pt x="1312" y="241"/>
                    </a:lnTo>
                    <a:close/>
                    <a:moveTo>
                      <a:pt x="1312" y="193"/>
                    </a:moveTo>
                    <a:lnTo>
                      <a:pt x="1312" y="149"/>
                    </a:lnTo>
                    <a:lnTo>
                      <a:pt x="1354" y="149"/>
                    </a:lnTo>
                    <a:lnTo>
                      <a:pt x="1354" y="193"/>
                    </a:lnTo>
                    <a:lnTo>
                      <a:pt x="1312" y="193"/>
                    </a:lnTo>
                    <a:close/>
                    <a:moveTo>
                      <a:pt x="1307" y="193"/>
                    </a:moveTo>
                    <a:lnTo>
                      <a:pt x="1263" y="193"/>
                    </a:lnTo>
                    <a:lnTo>
                      <a:pt x="1263" y="149"/>
                    </a:lnTo>
                    <a:lnTo>
                      <a:pt x="1307" y="149"/>
                    </a:lnTo>
                    <a:lnTo>
                      <a:pt x="1307" y="193"/>
                    </a:lnTo>
                    <a:close/>
                    <a:moveTo>
                      <a:pt x="1259" y="193"/>
                    </a:moveTo>
                    <a:lnTo>
                      <a:pt x="1215" y="193"/>
                    </a:lnTo>
                    <a:lnTo>
                      <a:pt x="1215" y="149"/>
                    </a:lnTo>
                    <a:lnTo>
                      <a:pt x="1259" y="149"/>
                    </a:lnTo>
                    <a:lnTo>
                      <a:pt x="1259" y="193"/>
                    </a:lnTo>
                    <a:close/>
                    <a:moveTo>
                      <a:pt x="1210" y="193"/>
                    </a:moveTo>
                    <a:lnTo>
                      <a:pt x="1166" y="193"/>
                    </a:lnTo>
                    <a:lnTo>
                      <a:pt x="1166" y="149"/>
                    </a:lnTo>
                    <a:lnTo>
                      <a:pt x="1210" y="149"/>
                    </a:lnTo>
                    <a:lnTo>
                      <a:pt x="1210" y="193"/>
                    </a:lnTo>
                    <a:close/>
                    <a:moveTo>
                      <a:pt x="1162" y="193"/>
                    </a:moveTo>
                    <a:lnTo>
                      <a:pt x="1118" y="193"/>
                    </a:lnTo>
                    <a:lnTo>
                      <a:pt x="1118" y="149"/>
                    </a:lnTo>
                    <a:lnTo>
                      <a:pt x="1162" y="149"/>
                    </a:lnTo>
                    <a:lnTo>
                      <a:pt x="1162" y="193"/>
                    </a:lnTo>
                    <a:close/>
                    <a:moveTo>
                      <a:pt x="1113" y="193"/>
                    </a:moveTo>
                    <a:lnTo>
                      <a:pt x="1069" y="193"/>
                    </a:lnTo>
                    <a:lnTo>
                      <a:pt x="1069" y="149"/>
                    </a:lnTo>
                    <a:lnTo>
                      <a:pt x="1113" y="149"/>
                    </a:lnTo>
                    <a:lnTo>
                      <a:pt x="1113" y="193"/>
                    </a:lnTo>
                    <a:close/>
                    <a:moveTo>
                      <a:pt x="1065" y="193"/>
                    </a:moveTo>
                    <a:lnTo>
                      <a:pt x="1021" y="193"/>
                    </a:lnTo>
                    <a:lnTo>
                      <a:pt x="1021" y="149"/>
                    </a:lnTo>
                    <a:lnTo>
                      <a:pt x="1065" y="149"/>
                    </a:lnTo>
                    <a:lnTo>
                      <a:pt x="1065" y="193"/>
                    </a:lnTo>
                    <a:close/>
                    <a:moveTo>
                      <a:pt x="1016" y="193"/>
                    </a:moveTo>
                    <a:lnTo>
                      <a:pt x="972" y="193"/>
                    </a:lnTo>
                    <a:lnTo>
                      <a:pt x="972" y="149"/>
                    </a:lnTo>
                    <a:lnTo>
                      <a:pt x="1016" y="149"/>
                    </a:lnTo>
                    <a:lnTo>
                      <a:pt x="1016" y="193"/>
                    </a:lnTo>
                    <a:close/>
                    <a:moveTo>
                      <a:pt x="967" y="193"/>
                    </a:moveTo>
                    <a:lnTo>
                      <a:pt x="924" y="193"/>
                    </a:lnTo>
                    <a:lnTo>
                      <a:pt x="924" y="149"/>
                    </a:lnTo>
                    <a:lnTo>
                      <a:pt x="967" y="149"/>
                    </a:lnTo>
                    <a:lnTo>
                      <a:pt x="967" y="193"/>
                    </a:lnTo>
                    <a:close/>
                    <a:moveTo>
                      <a:pt x="919" y="193"/>
                    </a:moveTo>
                    <a:lnTo>
                      <a:pt x="875" y="193"/>
                    </a:lnTo>
                    <a:lnTo>
                      <a:pt x="875" y="149"/>
                    </a:lnTo>
                    <a:lnTo>
                      <a:pt x="919" y="149"/>
                    </a:lnTo>
                    <a:lnTo>
                      <a:pt x="919" y="193"/>
                    </a:lnTo>
                    <a:close/>
                    <a:moveTo>
                      <a:pt x="870" y="193"/>
                    </a:moveTo>
                    <a:lnTo>
                      <a:pt x="826" y="193"/>
                    </a:lnTo>
                    <a:lnTo>
                      <a:pt x="826" y="149"/>
                    </a:lnTo>
                    <a:lnTo>
                      <a:pt x="870" y="149"/>
                    </a:lnTo>
                    <a:lnTo>
                      <a:pt x="870" y="193"/>
                    </a:lnTo>
                    <a:close/>
                    <a:moveTo>
                      <a:pt x="822" y="193"/>
                    </a:moveTo>
                    <a:lnTo>
                      <a:pt x="729" y="193"/>
                    </a:lnTo>
                    <a:lnTo>
                      <a:pt x="729" y="149"/>
                    </a:lnTo>
                    <a:lnTo>
                      <a:pt x="822" y="149"/>
                    </a:lnTo>
                    <a:lnTo>
                      <a:pt x="822" y="193"/>
                    </a:lnTo>
                    <a:close/>
                    <a:moveTo>
                      <a:pt x="725" y="193"/>
                    </a:moveTo>
                    <a:lnTo>
                      <a:pt x="681" y="193"/>
                    </a:lnTo>
                    <a:lnTo>
                      <a:pt x="681" y="149"/>
                    </a:lnTo>
                    <a:lnTo>
                      <a:pt x="725" y="149"/>
                    </a:lnTo>
                    <a:lnTo>
                      <a:pt x="725" y="193"/>
                    </a:lnTo>
                    <a:close/>
                    <a:moveTo>
                      <a:pt x="676" y="193"/>
                    </a:moveTo>
                    <a:lnTo>
                      <a:pt x="632" y="193"/>
                    </a:lnTo>
                    <a:lnTo>
                      <a:pt x="632" y="149"/>
                    </a:lnTo>
                    <a:lnTo>
                      <a:pt x="676" y="149"/>
                    </a:lnTo>
                    <a:lnTo>
                      <a:pt x="676" y="193"/>
                    </a:lnTo>
                    <a:close/>
                    <a:moveTo>
                      <a:pt x="628" y="193"/>
                    </a:moveTo>
                    <a:lnTo>
                      <a:pt x="584" y="193"/>
                    </a:lnTo>
                    <a:lnTo>
                      <a:pt x="584" y="149"/>
                    </a:lnTo>
                    <a:lnTo>
                      <a:pt x="628" y="149"/>
                    </a:lnTo>
                    <a:lnTo>
                      <a:pt x="628" y="193"/>
                    </a:lnTo>
                    <a:close/>
                    <a:moveTo>
                      <a:pt x="579" y="193"/>
                    </a:moveTo>
                    <a:lnTo>
                      <a:pt x="535" y="193"/>
                    </a:lnTo>
                    <a:lnTo>
                      <a:pt x="535" y="149"/>
                    </a:lnTo>
                    <a:lnTo>
                      <a:pt x="579" y="149"/>
                    </a:lnTo>
                    <a:lnTo>
                      <a:pt x="579" y="193"/>
                    </a:lnTo>
                    <a:close/>
                    <a:moveTo>
                      <a:pt x="531" y="193"/>
                    </a:moveTo>
                    <a:lnTo>
                      <a:pt x="487" y="193"/>
                    </a:lnTo>
                    <a:lnTo>
                      <a:pt x="487" y="149"/>
                    </a:lnTo>
                    <a:lnTo>
                      <a:pt x="531" y="149"/>
                    </a:lnTo>
                    <a:lnTo>
                      <a:pt x="531" y="193"/>
                    </a:lnTo>
                    <a:close/>
                    <a:moveTo>
                      <a:pt x="482" y="193"/>
                    </a:moveTo>
                    <a:lnTo>
                      <a:pt x="438" y="193"/>
                    </a:lnTo>
                    <a:lnTo>
                      <a:pt x="438" y="149"/>
                    </a:lnTo>
                    <a:lnTo>
                      <a:pt x="482" y="149"/>
                    </a:lnTo>
                    <a:lnTo>
                      <a:pt x="482" y="193"/>
                    </a:lnTo>
                    <a:close/>
                    <a:moveTo>
                      <a:pt x="434" y="193"/>
                    </a:moveTo>
                    <a:lnTo>
                      <a:pt x="390" y="193"/>
                    </a:lnTo>
                    <a:lnTo>
                      <a:pt x="390" y="149"/>
                    </a:lnTo>
                    <a:lnTo>
                      <a:pt x="434" y="149"/>
                    </a:lnTo>
                    <a:lnTo>
                      <a:pt x="434" y="193"/>
                    </a:lnTo>
                    <a:close/>
                    <a:moveTo>
                      <a:pt x="385" y="193"/>
                    </a:moveTo>
                    <a:lnTo>
                      <a:pt x="341" y="193"/>
                    </a:lnTo>
                    <a:lnTo>
                      <a:pt x="341" y="149"/>
                    </a:lnTo>
                    <a:lnTo>
                      <a:pt x="385" y="149"/>
                    </a:lnTo>
                    <a:lnTo>
                      <a:pt x="385" y="193"/>
                    </a:lnTo>
                    <a:close/>
                    <a:moveTo>
                      <a:pt x="337" y="193"/>
                    </a:moveTo>
                    <a:lnTo>
                      <a:pt x="293" y="193"/>
                    </a:lnTo>
                    <a:lnTo>
                      <a:pt x="293" y="149"/>
                    </a:lnTo>
                    <a:lnTo>
                      <a:pt x="337" y="149"/>
                    </a:lnTo>
                    <a:lnTo>
                      <a:pt x="337" y="193"/>
                    </a:lnTo>
                    <a:close/>
                    <a:moveTo>
                      <a:pt x="288" y="193"/>
                    </a:moveTo>
                    <a:lnTo>
                      <a:pt x="246" y="193"/>
                    </a:lnTo>
                    <a:lnTo>
                      <a:pt x="246" y="149"/>
                    </a:lnTo>
                    <a:lnTo>
                      <a:pt x="288" y="149"/>
                    </a:lnTo>
                    <a:lnTo>
                      <a:pt x="288" y="193"/>
                    </a:lnTo>
                    <a:close/>
                    <a:moveTo>
                      <a:pt x="240" y="193"/>
                    </a:moveTo>
                    <a:lnTo>
                      <a:pt x="197" y="193"/>
                    </a:lnTo>
                    <a:lnTo>
                      <a:pt x="197" y="149"/>
                    </a:lnTo>
                    <a:lnTo>
                      <a:pt x="240" y="149"/>
                    </a:lnTo>
                    <a:lnTo>
                      <a:pt x="240" y="193"/>
                    </a:lnTo>
                    <a:close/>
                    <a:moveTo>
                      <a:pt x="191" y="193"/>
                    </a:moveTo>
                    <a:lnTo>
                      <a:pt x="149" y="193"/>
                    </a:lnTo>
                    <a:lnTo>
                      <a:pt x="149" y="149"/>
                    </a:lnTo>
                    <a:lnTo>
                      <a:pt x="191" y="149"/>
                    </a:lnTo>
                    <a:lnTo>
                      <a:pt x="191" y="193"/>
                    </a:lnTo>
                    <a:close/>
                    <a:moveTo>
                      <a:pt x="191" y="197"/>
                    </a:moveTo>
                    <a:lnTo>
                      <a:pt x="191" y="241"/>
                    </a:lnTo>
                    <a:lnTo>
                      <a:pt x="149" y="241"/>
                    </a:lnTo>
                    <a:lnTo>
                      <a:pt x="149" y="197"/>
                    </a:lnTo>
                    <a:lnTo>
                      <a:pt x="191" y="197"/>
                    </a:lnTo>
                    <a:close/>
                    <a:moveTo>
                      <a:pt x="191" y="246"/>
                    </a:moveTo>
                    <a:lnTo>
                      <a:pt x="191" y="290"/>
                    </a:lnTo>
                    <a:lnTo>
                      <a:pt x="149" y="290"/>
                    </a:lnTo>
                    <a:lnTo>
                      <a:pt x="149" y="246"/>
                    </a:lnTo>
                    <a:lnTo>
                      <a:pt x="191" y="246"/>
                    </a:lnTo>
                    <a:close/>
                    <a:moveTo>
                      <a:pt x="191" y="294"/>
                    </a:moveTo>
                    <a:lnTo>
                      <a:pt x="191" y="338"/>
                    </a:lnTo>
                    <a:lnTo>
                      <a:pt x="149" y="338"/>
                    </a:lnTo>
                    <a:lnTo>
                      <a:pt x="149" y="294"/>
                    </a:lnTo>
                    <a:lnTo>
                      <a:pt x="191" y="294"/>
                    </a:lnTo>
                    <a:close/>
                    <a:moveTo>
                      <a:pt x="191" y="343"/>
                    </a:moveTo>
                    <a:lnTo>
                      <a:pt x="191" y="387"/>
                    </a:lnTo>
                    <a:lnTo>
                      <a:pt x="149" y="387"/>
                    </a:lnTo>
                    <a:lnTo>
                      <a:pt x="149" y="343"/>
                    </a:lnTo>
                    <a:lnTo>
                      <a:pt x="191" y="343"/>
                    </a:lnTo>
                    <a:close/>
                    <a:moveTo>
                      <a:pt x="191" y="391"/>
                    </a:moveTo>
                    <a:lnTo>
                      <a:pt x="191" y="435"/>
                    </a:lnTo>
                    <a:lnTo>
                      <a:pt x="149" y="435"/>
                    </a:lnTo>
                    <a:lnTo>
                      <a:pt x="149" y="391"/>
                    </a:lnTo>
                    <a:lnTo>
                      <a:pt x="191" y="391"/>
                    </a:lnTo>
                    <a:close/>
                    <a:moveTo>
                      <a:pt x="191" y="440"/>
                    </a:moveTo>
                    <a:lnTo>
                      <a:pt x="191" y="531"/>
                    </a:lnTo>
                    <a:lnTo>
                      <a:pt x="149" y="531"/>
                    </a:lnTo>
                    <a:lnTo>
                      <a:pt x="149" y="440"/>
                    </a:lnTo>
                    <a:lnTo>
                      <a:pt x="191" y="440"/>
                    </a:lnTo>
                    <a:close/>
                    <a:moveTo>
                      <a:pt x="191" y="537"/>
                    </a:moveTo>
                    <a:lnTo>
                      <a:pt x="191" y="580"/>
                    </a:lnTo>
                    <a:lnTo>
                      <a:pt x="149" y="580"/>
                    </a:lnTo>
                    <a:lnTo>
                      <a:pt x="149" y="537"/>
                    </a:lnTo>
                    <a:lnTo>
                      <a:pt x="191" y="537"/>
                    </a:lnTo>
                    <a:close/>
                    <a:moveTo>
                      <a:pt x="191" y="586"/>
                    </a:moveTo>
                    <a:lnTo>
                      <a:pt x="191" y="628"/>
                    </a:lnTo>
                    <a:lnTo>
                      <a:pt x="149" y="628"/>
                    </a:lnTo>
                    <a:lnTo>
                      <a:pt x="149" y="586"/>
                    </a:lnTo>
                    <a:lnTo>
                      <a:pt x="191" y="586"/>
                    </a:lnTo>
                    <a:close/>
                    <a:moveTo>
                      <a:pt x="191" y="634"/>
                    </a:moveTo>
                    <a:lnTo>
                      <a:pt x="191" y="677"/>
                    </a:lnTo>
                    <a:lnTo>
                      <a:pt x="149" y="677"/>
                    </a:lnTo>
                    <a:lnTo>
                      <a:pt x="149" y="634"/>
                    </a:lnTo>
                    <a:lnTo>
                      <a:pt x="191" y="634"/>
                    </a:lnTo>
                    <a:close/>
                    <a:moveTo>
                      <a:pt x="191" y="683"/>
                    </a:moveTo>
                    <a:lnTo>
                      <a:pt x="191" y="725"/>
                    </a:lnTo>
                    <a:lnTo>
                      <a:pt x="149" y="725"/>
                    </a:lnTo>
                    <a:lnTo>
                      <a:pt x="149" y="683"/>
                    </a:lnTo>
                    <a:lnTo>
                      <a:pt x="191" y="683"/>
                    </a:lnTo>
                    <a:close/>
                    <a:moveTo>
                      <a:pt x="191" y="730"/>
                    </a:moveTo>
                    <a:lnTo>
                      <a:pt x="191" y="774"/>
                    </a:lnTo>
                    <a:lnTo>
                      <a:pt x="149" y="774"/>
                    </a:lnTo>
                    <a:lnTo>
                      <a:pt x="149" y="730"/>
                    </a:lnTo>
                    <a:lnTo>
                      <a:pt x="191" y="730"/>
                    </a:lnTo>
                    <a:close/>
                    <a:moveTo>
                      <a:pt x="191" y="778"/>
                    </a:moveTo>
                    <a:lnTo>
                      <a:pt x="191" y="822"/>
                    </a:lnTo>
                    <a:lnTo>
                      <a:pt x="149" y="822"/>
                    </a:lnTo>
                    <a:lnTo>
                      <a:pt x="149" y="778"/>
                    </a:lnTo>
                    <a:lnTo>
                      <a:pt x="191" y="778"/>
                    </a:lnTo>
                    <a:close/>
                    <a:moveTo>
                      <a:pt x="197" y="778"/>
                    </a:moveTo>
                    <a:lnTo>
                      <a:pt x="240" y="778"/>
                    </a:lnTo>
                    <a:lnTo>
                      <a:pt x="240" y="822"/>
                    </a:lnTo>
                    <a:lnTo>
                      <a:pt x="197" y="822"/>
                    </a:lnTo>
                    <a:lnTo>
                      <a:pt x="197" y="778"/>
                    </a:lnTo>
                    <a:close/>
                    <a:moveTo>
                      <a:pt x="246" y="778"/>
                    </a:moveTo>
                    <a:lnTo>
                      <a:pt x="288" y="778"/>
                    </a:lnTo>
                    <a:lnTo>
                      <a:pt x="288" y="822"/>
                    </a:lnTo>
                    <a:lnTo>
                      <a:pt x="246" y="822"/>
                    </a:lnTo>
                    <a:lnTo>
                      <a:pt x="246" y="778"/>
                    </a:lnTo>
                    <a:close/>
                    <a:moveTo>
                      <a:pt x="293" y="778"/>
                    </a:moveTo>
                    <a:lnTo>
                      <a:pt x="337" y="778"/>
                    </a:lnTo>
                    <a:lnTo>
                      <a:pt x="337" y="822"/>
                    </a:lnTo>
                    <a:lnTo>
                      <a:pt x="293" y="822"/>
                    </a:lnTo>
                    <a:lnTo>
                      <a:pt x="293" y="778"/>
                    </a:lnTo>
                    <a:close/>
                    <a:moveTo>
                      <a:pt x="341" y="778"/>
                    </a:moveTo>
                    <a:lnTo>
                      <a:pt x="385" y="778"/>
                    </a:lnTo>
                    <a:lnTo>
                      <a:pt x="385" y="822"/>
                    </a:lnTo>
                    <a:lnTo>
                      <a:pt x="341" y="822"/>
                    </a:lnTo>
                    <a:lnTo>
                      <a:pt x="341" y="778"/>
                    </a:lnTo>
                    <a:close/>
                    <a:moveTo>
                      <a:pt x="390" y="778"/>
                    </a:moveTo>
                    <a:lnTo>
                      <a:pt x="434" y="778"/>
                    </a:lnTo>
                    <a:lnTo>
                      <a:pt x="434" y="822"/>
                    </a:lnTo>
                    <a:lnTo>
                      <a:pt x="390" y="822"/>
                    </a:lnTo>
                    <a:lnTo>
                      <a:pt x="390" y="778"/>
                    </a:lnTo>
                    <a:close/>
                    <a:moveTo>
                      <a:pt x="438" y="778"/>
                    </a:moveTo>
                    <a:lnTo>
                      <a:pt x="482" y="778"/>
                    </a:lnTo>
                    <a:lnTo>
                      <a:pt x="482" y="822"/>
                    </a:lnTo>
                    <a:lnTo>
                      <a:pt x="438" y="822"/>
                    </a:lnTo>
                    <a:lnTo>
                      <a:pt x="438" y="778"/>
                    </a:lnTo>
                    <a:close/>
                    <a:moveTo>
                      <a:pt x="487" y="778"/>
                    </a:moveTo>
                    <a:lnTo>
                      <a:pt x="531" y="778"/>
                    </a:lnTo>
                    <a:lnTo>
                      <a:pt x="531" y="822"/>
                    </a:lnTo>
                    <a:lnTo>
                      <a:pt x="487" y="822"/>
                    </a:lnTo>
                    <a:lnTo>
                      <a:pt x="487" y="778"/>
                    </a:lnTo>
                    <a:close/>
                    <a:moveTo>
                      <a:pt x="535" y="778"/>
                    </a:moveTo>
                    <a:lnTo>
                      <a:pt x="579" y="778"/>
                    </a:lnTo>
                    <a:lnTo>
                      <a:pt x="579" y="822"/>
                    </a:lnTo>
                    <a:lnTo>
                      <a:pt x="535" y="822"/>
                    </a:lnTo>
                    <a:lnTo>
                      <a:pt x="535" y="778"/>
                    </a:lnTo>
                    <a:close/>
                    <a:moveTo>
                      <a:pt x="584" y="778"/>
                    </a:moveTo>
                    <a:lnTo>
                      <a:pt x="628" y="778"/>
                    </a:lnTo>
                    <a:lnTo>
                      <a:pt x="628" y="822"/>
                    </a:lnTo>
                    <a:lnTo>
                      <a:pt x="584" y="822"/>
                    </a:lnTo>
                    <a:lnTo>
                      <a:pt x="584" y="778"/>
                    </a:lnTo>
                    <a:close/>
                    <a:moveTo>
                      <a:pt x="632" y="778"/>
                    </a:moveTo>
                    <a:lnTo>
                      <a:pt x="676" y="778"/>
                    </a:lnTo>
                    <a:lnTo>
                      <a:pt x="676" y="822"/>
                    </a:lnTo>
                    <a:lnTo>
                      <a:pt x="632" y="822"/>
                    </a:lnTo>
                    <a:lnTo>
                      <a:pt x="632" y="778"/>
                    </a:lnTo>
                    <a:close/>
                    <a:moveTo>
                      <a:pt x="681" y="778"/>
                    </a:moveTo>
                    <a:lnTo>
                      <a:pt x="725" y="778"/>
                    </a:lnTo>
                    <a:lnTo>
                      <a:pt x="725" y="822"/>
                    </a:lnTo>
                    <a:lnTo>
                      <a:pt x="681" y="822"/>
                    </a:lnTo>
                    <a:lnTo>
                      <a:pt x="681" y="778"/>
                    </a:lnTo>
                    <a:close/>
                    <a:moveTo>
                      <a:pt x="729" y="778"/>
                    </a:moveTo>
                    <a:lnTo>
                      <a:pt x="822" y="778"/>
                    </a:lnTo>
                    <a:lnTo>
                      <a:pt x="822" y="822"/>
                    </a:lnTo>
                    <a:lnTo>
                      <a:pt x="729" y="822"/>
                    </a:lnTo>
                    <a:lnTo>
                      <a:pt x="729" y="778"/>
                    </a:lnTo>
                    <a:close/>
                    <a:moveTo>
                      <a:pt x="826" y="778"/>
                    </a:moveTo>
                    <a:lnTo>
                      <a:pt x="870" y="778"/>
                    </a:lnTo>
                    <a:lnTo>
                      <a:pt x="870" y="822"/>
                    </a:lnTo>
                    <a:lnTo>
                      <a:pt x="826" y="822"/>
                    </a:lnTo>
                    <a:lnTo>
                      <a:pt x="826" y="778"/>
                    </a:lnTo>
                    <a:close/>
                    <a:moveTo>
                      <a:pt x="875" y="778"/>
                    </a:moveTo>
                    <a:lnTo>
                      <a:pt x="919" y="778"/>
                    </a:lnTo>
                    <a:lnTo>
                      <a:pt x="919" y="822"/>
                    </a:lnTo>
                    <a:lnTo>
                      <a:pt x="875" y="822"/>
                    </a:lnTo>
                    <a:lnTo>
                      <a:pt x="875" y="778"/>
                    </a:lnTo>
                    <a:close/>
                    <a:moveTo>
                      <a:pt x="924" y="778"/>
                    </a:moveTo>
                    <a:lnTo>
                      <a:pt x="967" y="778"/>
                    </a:lnTo>
                    <a:lnTo>
                      <a:pt x="967" y="822"/>
                    </a:lnTo>
                    <a:lnTo>
                      <a:pt x="924" y="822"/>
                    </a:lnTo>
                    <a:lnTo>
                      <a:pt x="924" y="778"/>
                    </a:lnTo>
                    <a:close/>
                    <a:moveTo>
                      <a:pt x="972" y="778"/>
                    </a:moveTo>
                    <a:lnTo>
                      <a:pt x="1016" y="778"/>
                    </a:lnTo>
                    <a:lnTo>
                      <a:pt x="1016" y="822"/>
                    </a:lnTo>
                    <a:lnTo>
                      <a:pt x="972" y="822"/>
                    </a:lnTo>
                    <a:lnTo>
                      <a:pt x="972" y="778"/>
                    </a:lnTo>
                    <a:close/>
                    <a:moveTo>
                      <a:pt x="1021" y="778"/>
                    </a:moveTo>
                    <a:lnTo>
                      <a:pt x="1065" y="778"/>
                    </a:lnTo>
                    <a:lnTo>
                      <a:pt x="1065" y="822"/>
                    </a:lnTo>
                    <a:lnTo>
                      <a:pt x="1021" y="822"/>
                    </a:lnTo>
                    <a:lnTo>
                      <a:pt x="1021" y="778"/>
                    </a:lnTo>
                    <a:close/>
                    <a:moveTo>
                      <a:pt x="1069" y="778"/>
                    </a:moveTo>
                    <a:lnTo>
                      <a:pt x="1113" y="778"/>
                    </a:lnTo>
                    <a:lnTo>
                      <a:pt x="1113" y="822"/>
                    </a:lnTo>
                    <a:lnTo>
                      <a:pt x="1069" y="822"/>
                    </a:lnTo>
                    <a:lnTo>
                      <a:pt x="1069" y="778"/>
                    </a:lnTo>
                    <a:close/>
                    <a:moveTo>
                      <a:pt x="1118" y="778"/>
                    </a:moveTo>
                    <a:lnTo>
                      <a:pt x="1162" y="778"/>
                    </a:lnTo>
                    <a:lnTo>
                      <a:pt x="1162" y="822"/>
                    </a:lnTo>
                    <a:lnTo>
                      <a:pt x="1118" y="822"/>
                    </a:lnTo>
                    <a:lnTo>
                      <a:pt x="1118" y="778"/>
                    </a:lnTo>
                    <a:close/>
                    <a:moveTo>
                      <a:pt x="1166" y="778"/>
                    </a:moveTo>
                    <a:lnTo>
                      <a:pt x="1210" y="778"/>
                    </a:lnTo>
                    <a:lnTo>
                      <a:pt x="1210" y="822"/>
                    </a:lnTo>
                    <a:lnTo>
                      <a:pt x="1166" y="822"/>
                    </a:lnTo>
                    <a:lnTo>
                      <a:pt x="1166" y="778"/>
                    </a:lnTo>
                    <a:close/>
                    <a:moveTo>
                      <a:pt x="1215" y="778"/>
                    </a:moveTo>
                    <a:lnTo>
                      <a:pt x="1259" y="778"/>
                    </a:lnTo>
                    <a:lnTo>
                      <a:pt x="1259" y="822"/>
                    </a:lnTo>
                    <a:lnTo>
                      <a:pt x="1215" y="822"/>
                    </a:lnTo>
                    <a:lnTo>
                      <a:pt x="1215" y="778"/>
                    </a:lnTo>
                    <a:close/>
                    <a:moveTo>
                      <a:pt x="1263" y="778"/>
                    </a:moveTo>
                    <a:lnTo>
                      <a:pt x="1307" y="778"/>
                    </a:lnTo>
                    <a:lnTo>
                      <a:pt x="1307" y="822"/>
                    </a:lnTo>
                    <a:lnTo>
                      <a:pt x="1263" y="822"/>
                    </a:lnTo>
                    <a:lnTo>
                      <a:pt x="1263" y="778"/>
                    </a:lnTo>
                    <a:close/>
                    <a:moveTo>
                      <a:pt x="1312" y="778"/>
                    </a:moveTo>
                    <a:lnTo>
                      <a:pt x="1354" y="778"/>
                    </a:lnTo>
                    <a:lnTo>
                      <a:pt x="1354" y="822"/>
                    </a:lnTo>
                    <a:lnTo>
                      <a:pt x="1312" y="822"/>
                    </a:lnTo>
                    <a:lnTo>
                      <a:pt x="1312" y="778"/>
                    </a:lnTo>
                    <a:close/>
                    <a:moveTo>
                      <a:pt x="1360" y="778"/>
                    </a:moveTo>
                    <a:lnTo>
                      <a:pt x="1403" y="778"/>
                    </a:lnTo>
                    <a:lnTo>
                      <a:pt x="1403" y="822"/>
                    </a:lnTo>
                    <a:lnTo>
                      <a:pt x="1360" y="822"/>
                    </a:lnTo>
                    <a:lnTo>
                      <a:pt x="1360" y="778"/>
                    </a:lnTo>
                    <a:close/>
                    <a:moveTo>
                      <a:pt x="1360" y="774"/>
                    </a:moveTo>
                    <a:lnTo>
                      <a:pt x="1360" y="730"/>
                    </a:lnTo>
                    <a:lnTo>
                      <a:pt x="1403" y="730"/>
                    </a:lnTo>
                    <a:lnTo>
                      <a:pt x="1403" y="774"/>
                    </a:lnTo>
                    <a:lnTo>
                      <a:pt x="1360" y="774"/>
                    </a:lnTo>
                    <a:close/>
                    <a:moveTo>
                      <a:pt x="1360" y="725"/>
                    </a:moveTo>
                    <a:lnTo>
                      <a:pt x="1360" y="683"/>
                    </a:lnTo>
                    <a:lnTo>
                      <a:pt x="1403" y="683"/>
                    </a:lnTo>
                    <a:lnTo>
                      <a:pt x="1403" y="725"/>
                    </a:lnTo>
                    <a:lnTo>
                      <a:pt x="1360" y="725"/>
                    </a:lnTo>
                    <a:close/>
                    <a:moveTo>
                      <a:pt x="1360" y="677"/>
                    </a:moveTo>
                    <a:lnTo>
                      <a:pt x="1360" y="634"/>
                    </a:lnTo>
                    <a:lnTo>
                      <a:pt x="1403" y="634"/>
                    </a:lnTo>
                    <a:lnTo>
                      <a:pt x="1403" y="677"/>
                    </a:lnTo>
                    <a:lnTo>
                      <a:pt x="1360" y="677"/>
                    </a:lnTo>
                    <a:close/>
                    <a:moveTo>
                      <a:pt x="1360" y="628"/>
                    </a:moveTo>
                    <a:lnTo>
                      <a:pt x="1360" y="586"/>
                    </a:lnTo>
                    <a:lnTo>
                      <a:pt x="1403" y="586"/>
                    </a:lnTo>
                    <a:lnTo>
                      <a:pt x="1403" y="628"/>
                    </a:lnTo>
                    <a:lnTo>
                      <a:pt x="1360" y="628"/>
                    </a:lnTo>
                    <a:close/>
                    <a:moveTo>
                      <a:pt x="1360" y="580"/>
                    </a:moveTo>
                    <a:lnTo>
                      <a:pt x="1360" y="537"/>
                    </a:lnTo>
                    <a:lnTo>
                      <a:pt x="1403" y="537"/>
                    </a:lnTo>
                    <a:lnTo>
                      <a:pt x="1403" y="580"/>
                    </a:lnTo>
                    <a:lnTo>
                      <a:pt x="1360" y="580"/>
                    </a:lnTo>
                    <a:close/>
                    <a:moveTo>
                      <a:pt x="1360" y="531"/>
                    </a:moveTo>
                    <a:lnTo>
                      <a:pt x="1360" y="440"/>
                    </a:lnTo>
                    <a:lnTo>
                      <a:pt x="1403" y="440"/>
                    </a:lnTo>
                    <a:lnTo>
                      <a:pt x="1403" y="531"/>
                    </a:lnTo>
                    <a:lnTo>
                      <a:pt x="1360" y="531"/>
                    </a:lnTo>
                    <a:close/>
                    <a:moveTo>
                      <a:pt x="1360" y="435"/>
                    </a:moveTo>
                    <a:lnTo>
                      <a:pt x="1360" y="391"/>
                    </a:lnTo>
                    <a:lnTo>
                      <a:pt x="1403" y="391"/>
                    </a:lnTo>
                    <a:lnTo>
                      <a:pt x="1403" y="435"/>
                    </a:lnTo>
                    <a:lnTo>
                      <a:pt x="1360" y="435"/>
                    </a:lnTo>
                    <a:close/>
                    <a:moveTo>
                      <a:pt x="1360" y="387"/>
                    </a:moveTo>
                    <a:lnTo>
                      <a:pt x="1360" y="343"/>
                    </a:lnTo>
                    <a:lnTo>
                      <a:pt x="1403" y="343"/>
                    </a:lnTo>
                    <a:lnTo>
                      <a:pt x="1403" y="387"/>
                    </a:lnTo>
                    <a:lnTo>
                      <a:pt x="1360" y="387"/>
                    </a:lnTo>
                    <a:close/>
                    <a:moveTo>
                      <a:pt x="1360" y="338"/>
                    </a:moveTo>
                    <a:lnTo>
                      <a:pt x="1360" y="294"/>
                    </a:lnTo>
                    <a:lnTo>
                      <a:pt x="1403" y="294"/>
                    </a:lnTo>
                    <a:lnTo>
                      <a:pt x="1403" y="338"/>
                    </a:lnTo>
                    <a:lnTo>
                      <a:pt x="1360" y="338"/>
                    </a:lnTo>
                    <a:close/>
                    <a:moveTo>
                      <a:pt x="1360" y="290"/>
                    </a:moveTo>
                    <a:lnTo>
                      <a:pt x="1360" y="246"/>
                    </a:lnTo>
                    <a:lnTo>
                      <a:pt x="1403" y="246"/>
                    </a:lnTo>
                    <a:lnTo>
                      <a:pt x="1403" y="290"/>
                    </a:lnTo>
                    <a:lnTo>
                      <a:pt x="1360" y="290"/>
                    </a:lnTo>
                    <a:close/>
                    <a:moveTo>
                      <a:pt x="1360" y="241"/>
                    </a:moveTo>
                    <a:lnTo>
                      <a:pt x="1360" y="197"/>
                    </a:lnTo>
                    <a:lnTo>
                      <a:pt x="1403" y="197"/>
                    </a:lnTo>
                    <a:lnTo>
                      <a:pt x="1403" y="241"/>
                    </a:lnTo>
                    <a:lnTo>
                      <a:pt x="1360" y="241"/>
                    </a:lnTo>
                    <a:close/>
                    <a:moveTo>
                      <a:pt x="1360" y="193"/>
                    </a:moveTo>
                    <a:lnTo>
                      <a:pt x="1360" y="149"/>
                    </a:lnTo>
                    <a:lnTo>
                      <a:pt x="1403" y="149"/>
                    </a:lnTo>
                    <a:lnTo>
                      <a:pt x="1403" y="193"/>
                    </a:lnTo>
                    <a:lnTo>
                      <a:pt x="1360" y="193"/>
                    </a:lnTo>
                    <a:close/>
                    <a:moveTo>
                      <a:pt x="1360" y="144"/>
                    </a:moveTo>
                    <a:lnTo>
                      <a:pt x="1360" y="100"/>
                    </a:lnTo>
                    <a:lnTo>
                      <a:pt x="1403" y="100"/>
                    </a:lnTo>
                    <a:lnTo>
                      <a:pt x="1403" y="144"/>
                    </a:lnTo>
                    <a:lnTo>
                      <a:pt x="1360" y="144"/>
                    </a:lnTo>
                    <a:close/>
                    <a:moveTo>
                      <a:pt x="1354" y="144"/>
                    </a:moveTo>
                    <a:lnTo>
                      <a:pt x="1312" y="144"/>
                    </a:lnTo>
                    <a:lnTo>
                      <a:pt x="1312" y="100"/>
                    </a:lnTo>
                    <a:lnTo>
                      <a:pt x="1354" y="100"/>
                    </a:lnTo>
                    <a:lnTo>
                      <a:pt x="1354" y="144"/>
                    </a:lnTo>
                    <a:close/>
                    <a:moveTo>
                      <a:pt x="1307" y="144"/>
                    </a:moveTo>
                    <a:lnTo>
                      <a:pt x="1263" y="144"/>
                    </a:lnTo>
                    <a:lnTo>
                      <a:pt x="1263" y="100"/>
                    </a:lnTo>
                    <a:lnTo>
                      <a:pt x="1307" y="100"/>
                    </a:lnTo>
                    <a:lnTo>
                      <a:pt x="1307" y="144"/>
                    </a:lnTo>
                    <a:close/>
                    <a:moveTo>
                      <a:pt x="1259" y="144"/>
                    </a:moveTo>
                    <a:lnTo>
                      <a:pt x="1215" y="144"/>
                    </a:lnTo>
                    <a:lnTo>
                      <a:pt x="1215" y="100"/>
                    </a:lnTo>
                    <a:lnTo>
                      <a:pt x="1259" y="100"/>
                    </a:lnTo>
                    <a:lnTo>
                      <a:pt x="1259" y="144"/>
                    </a:lnTo>
                    <a:close/>
                    <a:moveTo>
                      <a:pt x="1210" y="144"/>
                    </a:moveTo>
                    <a:lnTo>
                      <a:pt x="1166" y="144"/>
                    </a:lnTo>
                    <a:lnTo>
                      <a:pt x="1166" y="100"/>
                    </a:lnTo>
                    <a:lnTo>
                      <a:pt x="1210" y="100"/>
                    </a:lnTo>
                    <a:lnTo>
                      <a:pt x="1210" y="144"/>
                    </a:lnTo>
                    <a:close/>
                    <a:moveTo>
                      <a:pt x="1162" y="144"/>
                    </a:moveTo>
                    <a:lnTo>
                      <a:pt x="1118" y="144"/>
                    </a:lnTo>
                    <a:lnTo>
                      <a:pt x="1118" y="100"/>
                    </a:lnTo>
                    <a:lnTo>
                      <a:pt x="1162" y="100"/>
                    </a:lnTo>
                    <a:lnTo>
                      <a:pt x="1162" y="144"/>
                    </a:lnTo>
                    <a:close/>
                    <a:moveTo>
                      <a:pt x="1113" y="144"/>
                    </a:moveTo>
                    <a:lnTo>
                      <a:pt x="1069" y="144"/>
                    </a:lnTo>
                    <a:lnTo>
                      <a:pt x="1069" y="100"/>
                    </a:lnTo>
                    <a:lnTo>
                      <a:pt x="1113" y="100"/>
                    </a:lnTo>
                    <a:lnTo>
                      <a:pt x="1113" y="144"/>
                    </a:lnTo>
                    <a:close/>
                    <a:moveTo>
                      <a:pt x="1065" y="144"/>
                    </a:moveTo>
                    <a:lnTo>
                      <a:pt x="1021" y="144"/>
                    </a:lnTo>
                    <a:lnTo>
                      <a:pt x="1021" y="100"/>
                    </a:lnTo>
                    <a:lnTo>
                      <a:pt x="1065" y="100"/>
                    </a:lnTo>
                    <a:lnTo>
                      <a:pt x="1065" y="144"/>
                    </a:lnTo>
                    <a:close/>
                    <a:moveTo>
                      <a:pt x="1016" y="144"/>
                    </a:moveTo>
                    <a:lnTo>
                      <a:pt x="972" y="144"/>
                    </a:lnTo>
                    <a:lnTo>
                      <a:pt x="972" y="100"/>
                    </a:lnTo>
                    <a:lnTo>
                      <a:pt x="1016" y="100"/>
                    </a:lnTo>
                    <a:lnTo>
                      <a:pt x="1016" y="144"/>
                    </a:lnTo>
                    <a:close/>
                    <a:moveTo>
                      <a:pt x="967" y="144"/>
                    </a:moveTo>
                    <a:lnTo>
                      <a:pt x="924" y="144"/>
                    </a:lnTo>
                    <a:lnTo>
                      <a:pt x="924" y="100"/>
                    </a:lnTo>
                    <a:lnTo>
                      <a:pt x="967" y="100"/>
                    </a:lnTo>
                    <a:lnTo>
                      <a:pt x="967" y="144"/>
                    </a:lnTo>
                    <a:close/>
                    <a:moveTo>
                      <a:pt x="919" y="144"/>
                    </a:moveTo>
                    <a:lnTo>
                      <a:pt x="875" y="144"/>
                    </a:lnTo>
                    <a:lnTo>
                      <a:pt x="875" y="100"/>
                    </a:lnTo>
                    <a:lnTo>
                      <a:pt x="919" y="100"/>
                    </a:lnTo>
                    <a:lnTo>
                      <a:pt x="919" y="144"/>
                    </a:lnTo>
                    <a:close/>
                    <a:moveTo>
                      <a:pt x="870" y="144"/>
                    </a:moveTo>
                    <a:lnTo>
                      <a:pt x="826" y="144"/>
                    </a:lnTo>
                    <a:lnTo>
                      <a:pt x="826" y="100"/>
                    </a:lnTo>
                    <a:lnTo>
                      <a:pt x="870" y="100"/>
                    </a:lnTo>
                    <a:lnTo>
                      <a:pt x="870" y="144"/>
                    </a:lnTo>
                    <a:close/>
                    <a:moveTo>
                      <a:pt x="822" y="144"/>
                    </a:moveTo>
                    <a:lnTo>
                      <a:pt x="729" y="144"/>
                    </a:lnTo>
                    <a:lnTo>
                      <a:pt x="729" y="100"/>
                    </a:lnTo>
                    <a:lnTo>
                      <a:pt x="822" y="100"/>
                    </a:lnTo>
                    <a:lnTo>
                      <a:pt x="822" y="144"/>
                    </a:lnTo>
                    <a:close/>
                    <a:moveTo>
                      <a:pt x="725" y="144"/>
                    </a:moveTo>
                    <a:lnTo>
                      <a:pt x="681" y="144"/>
                    </a:lnTo>
                    <a:lnTo>
                      <a:pt x="681" y="100"/>
                    </a:lnTo>
                    <a:lnTo>
                      <a:pt x="725" y="100"/>
                    </a:lnTo>
                    <a:lnTo>
                      <a:pt x="725" y="144"/>
                    </a:lnTo>
                    <a:close/>
                    <a:moveTo>
                      <a:pt x="676" y="144"/>
                    </a:moveTo>
                    <a:lnTo>
                      <a:pt x="632" y="144"/>
                    </a:lnTo>
                    <a:lnTo>
                      <a:pt x="632" y="100"/>
                    </a:lnTo>
                    <a:lnTo>
                      <a:pt x="676" y="100"/>
                    </a:lnTo>
                    <a:lnTo>
                      <a:pt x="676" y="144"/>
                    </a:lnTo>
                    <a:close/>
                    <a:moveTo>
                      <a:pt x="628" y="144"/>
                    </a:moveTo>
                    <a:lnTo>
                      <a:pt x="584" y="144"/>
                    </a:lnTo>
                    <a:lnTo>
                      <a:pt x="584" y="100"/>
                    </a:lnTo>
                    <a:lnTo>
                      <a:pt x="628" y="100"/>
                    </a:lnTo>
                    <a:lnTo>
                      <a:pt x="628" y="144"/>
                    </a:lnTo>
                    <a:close/>
                    <a:moveTo>
                      <a:pt x="579" y="144"/>
                    </a:moveTo>
                    <a:lnTo>
                      <a:pt x="535" y="144"/>
                    </a:lnTo>
                    <a:lnTo>
                      <a:pt x="535" y="100"/>
                    </a:lnTo>
                    <a:lnTo>
                      <a:pt x="579" y="100"/>
                    </a:lnTo>
                    <a:lnTo>
                      <a:pt x="579" y="144"/>
                    </a:lnTo>
                    <a:close/>
                    <a:moveTo>
                      <a:pt x="531" y="144"/>
                    </a:moveTo>
                    <a:lnTo>
                      <a:pt x="487" y="144"/>
                    </a:lnTo>
                    <a:lnTo>
                      <a:pt x="487" y="100"/>
                    </a:lnTo>
                    <a:lnTo>
                      <a:pt x="531" y="100"/>
                    </a:lnTo>
                    <a:lnTo>
                      <a:pt x="531" y="144"/>
                    </a:lnTo>
                    <a:close/>
                    <a:moveTo>
                      <a:pt x="482" y="144"/>
                    </a:moveTo>
                    <a:lnTo>
                      <a:pt x="438" y="144"/>
                    </a:lnTo>
                    <a:lnTo>
                      <a:pt x="438" y="100"/>
                    </a:lnTo>
                    <a:lnTo>
                      <a:pt x="482" y="100"/>
                    </a:lnTo>
                    <a:lnTo>
                      <a:pt x="482" y="144"/>
                    </a:lnTo>
                    <a:close/>
                    <a:moveTo>
                      <a:pt x="434" y="144"/>
                    </a:moveTo>
                    <a:lnTo>
                      <a:pt x="390" y="144"/>
                    </a:lnTo>
                    <a:lnTo>
                      <a:pt x="390" y="100"/>
                    </a:lnTo>
                    <a:lnTo>
                      <a:pt x="434" y="100"/>
                    </a:lnTo>
                    <a:lnTo>
                      <a:pt x="434" y="144"/>
                    </a:lnTo>
                    <a:close/>
                    <a:moveTo>
                      <a:pt x="385" y="144"/>
                    </a:moveTo>
                    <a:lnTo>
                      <a:pt x="341" y="144"/>
                    </a:lnTo>
                    <a:lnTo>
                      <a:pt x="341" y="100"/>
                    </a:lnTo>
                    <a:lnTo>
                      <a:pt x="385" y="100"/>
                    </a:lnTo>
                    <a:lnTo>
                      <a:pt x="385" y="144"/>
                    </a:lnTo>
                    <a:close/>
                    <a:moveTo>
                      <a:pt x="337" y="144"/>
                    </a:moveTo>
                    <a:lnTo>
                      <a:pt x="293" y="144"/>
                    </a:lnTo>
                    <a:lnTo>
                      <a:pt x="293" y="100"/>
                    </a:lnTo>
                    <a:lnTo>
                      <a:pt x="337" y="100"/>
                    </a:lnTo>
                    <a:lnTo>
                      <a:pt x="337" y="144"/>
                    </a:lnTo>
                    <a:close/>
                    <a:moveTo>
                      <a:pt x="288" y="144"/>
                    </a:moveTo>
                    <a:lnTo>
                      <a:pt x="246" y="144"/>
                    </a:lnTo>
                    <a:lnTo>
                      <a:pt x="246" y="100"/>
                    </a:lnTo>
                    <a:lnTo>
                      <a:pt x="288" y="100"/>
                    </a:lnTo>
                    <a:lnTo>
                      <a:pt x="288" y="144"/>
                    </a:lnTo>
                    <a:close/>
                    <a:moveTo>
                      <a:pt x="240" y="144"/>
                    </a:moveTo>
                    <a:lnTo>
                      <a:pt x="197" y="144"/>
                    </a:lnTo>
                    <a:lnTo>
                      <a:pt x="197" y="100"/>
                    </a:lnTo>
                    <a:lnTo>
                      <a:pt x="240" y="100"/>
                    </a:lnTo>
                    <a:lnTo>
                      <a:pt x="240" y="144"/>
                    </a:lnTo>
                    <a:close/>
                    <a:moveTo>
                      <a:pt x="191" y="144"/>
                    </a:moveTo>
                    <a:lnTo>
                      <a:pt x="149" y="144"/>
                    </a:lnTo>
                    <a:lnTo>
                      <a:pt x="149" y="100"/>
                    </a:lnTo>
                    <a:lnTo>
                      <a:pt x="191" y="100"/>
                    </a:lnTo>
                    <a:lnTo>
                      <a:pt x="191" y="144"/>
                    </a:lnTo>
                    <a:close/>
                    <a:moveTo>
                      <a:pt x="143" y="144"/>
                    </a:moveTo>
                    <a:lnTo>
                      <a:pt x="100" y="144"/>
                    </a:lnTo>
                    <a:lnTo>
                      <a:pt x="100" y="100"/>
                    </a:lnTo>
                    <a:lnTo>
                      <a:pt x="143" y="100"/>
                    </a:lnTo>
                    <a:lnTo>
                      <a:pt x="143" y="144"/>
                    </a:lnTo>
                    <a:close/>
                    <a:moveTo>
                      <a:pt x="143" y="149"/>
                    </a:moveTo>
                    <a:lnTo>
                      <a:pt x="143" y="193"/>
                    </a:lnTo>
                    <a:lnTo>
                      <a:pt x="100" y="193"/>
                    </a:lnTo>
                    <a:lnTo>
                      <a:pt x="100" y="149"/>
                    </a:lnTo>
                    <a:lnTo>
                      <a:pt x="143" y="149"/>
                    </a:lnTo>
                    <a:close/>
                    <a:moveTo>
                      <a:pt x="143" y="197"/>
                    </a:moveTo>
                    <a:lnTo>
                      <a:pt x="143" y="241"/>
                    </a:lnTo>
                    <a:lnTo>
                      <a:pt x="100" y="241"/>
                    </a:lnTo>
                    <a:lnTo>
                      <a:pt x="100" y="197"/>
                    </a:lnTo>
                    <a:lnTo>
                      <a:pt x="143" y="197"/>
                    </a:lnTo>
                    <a:close/>
                    <a:moveTo>
                      <a:pt x="143" y="246"/>
                    </a:moveTo>
                    <a:lnTo>
                      <a:pt x="143" y="290"/>
                    </a:lnTo>
                    <a:lnTo>
                      <a:pt x="100" y="290"/>
                    </a:lnTo>
                    <a:lnTo>
                      <a:pt x="100" y="246"/>
                    </a:lnTo>
                    <a:lnTo>
                      <a:pt x="143" y="246"/>
                    </a:lnTo>
                    <a:close/>
                    <a:moveTo>
                      <a:pt x="143" y="294"/>
                    </a:moveTo>
                    <a:lnTo>
                      <a:pt x="143" y="338"/>
                    </a:lnTo>
                    <a:lnTo>
                      <a:pt x="100" y="338"/>
                    </a:lnTo>
                    <a:lnTo>
                      <a:pt x="100" y="294"/>
                    </a:lnTo>
                    <a:lnTo>
                      <a:pt x="143" y="294"/>
                    </a:lnTo>
                    <a:close/>
                    <a:moveTo>
                      <a:pt x="143" y="343"/>
                    </a:moveTo>
                    <a:lnTo>
                      <a:pt x="143" y="387"/>
                    </a:lnTo>
                    <a:lnTo>
                      <a:pt x="100" y="387"/>
                    </a:lnTo>
                    <a:lnTo>
                      <a:pt x="100" y="343"/>
                    </a:lnTo>
                    <a:lnTo>
                      <a:pt x="143" y="343"/>
                    </a:lnTo>
                    <a:close/>
                    <a:moveTo>
                      <a:pt x="143" y="391"/>
                    </a:moveTo>
                    <a:lnTo>
                      <a:pt x="143" y="435"/>
                    </a:lnTo>
                    <a:lnTo>
                      <a:pt x="100" y="435"/>
                    </a:lnTo>
                    <a:lnTo>
                      <a:pt x="100" y="391"/>
                    </a:lnTo>
                    <a:lnTo>
                      <a:pt x="143" y="391"/>
                    </a:lnTo>
                    <a:close/>
                    <a:moveTo>
                      <a:pt x="143" y="440"/>
                    </a:moveTo>
                    <a:lnTo>
                      <a:pt x="143" y="531"/>
                    </a:lnTo>
                    <a:lnTo>
                      <a:pt x="100" y="531"/>
                    </a:lnTo>
                    <a:lnTo>
                      <a:pt x="100" y="440"/>
                    </a:lnTo>
                    <a:lnTo>
                      <a:pt x="143" y="440"/>
                    </a:lnTo>
                    <a:close/>
                    <a:moveTo>
                      <a:pt x="143" y="537"/>
                    </a:moveTo>
                    <a:lnTo>
                      <a:pt x="143" y="580"/>
                    </a:lnTo>
                    <a:lnTo>
                      <a:pt x="100" y="580"/>
                    </a:lnTo>
                    <a:lnTo>
                      <a:pt x="100" y="537"/>
                    </a:lnTo>
                    <a:lnTo>
                      <a:pt x="143" y="537"/>
                    </a:lnTo>
                    <a:close/>
                    <a:moveTo>
                      <a:pt x="143" y="586"/>
                    </a:moveTo>
                    <a:lnTo>
                      <a:pt x="143" y="628"/>
                    </a:lnTo>
                    <a:lnTo>
                      <a:pt x="100" y="628"/>
                    </a:lnTo>
                    <a:lnTo>
                      <a:pt x="100" y="586"/>
                    </a:lnTo>
                    <a:lnTo>
                      <a:pt x="143" y="586"/>
                    </a:lnTo>
                    <a:close/>
                    <a:moveTo>
                      <a:pt x="143" y="634"/>
                    </a:moveTo>
                    <a:lnTo>
                      <a:pt x="143" y="677"/>
                    </a:lnTo>
                    <a:lnTo>
                      <a:pt x="100" y="677"/>
                    </a:lnTo>
                    <a:lnTo>
                      <a:pt x="100" y="634"/>
                    </a:lnTo>
                    <a:lnTo>
                      <a:pt x="143" y="634"/>
                    </a:lnTo>
                    <a:close/>
                    <a:moveTo>
                      <a:pt x="143" y="683"/>
                    </a:moveTo>
                    <a:lnTo>
                      <a:pt x="143" y="725"/>
                    </a:lnTo>
                    <a:lnTo>
                      <a:pt x="100" y="725"/>
                    </a:lnTo>
                    <a:lnTo>
                      <a:pt x="100" y="683"/>
                    </a:lnTo>
                    <a:lnTo>
                      <a:pt x="143" y="683"/>
                    </a:lnTo>
                    <a:close/>
                    <a:moveTo>
                      <a:pt x="143" y="730"/>
                    </a:moveTo>
                    <a:lnTo>
                      <a:pt x="143" y="774"/>
                    </a:lnTo>
                    <a:lnTo>
                      <a:pt x="100" y="774"/>
                    </a:lnTo>
                    <a:lnTo>
                      <a:pt x="100" y="730"/>
                    </a:lnTo>
                    <a:lnTo>
                      <a:pt x="143" y="730"/>
                    </a:lnTo>
                    <a:close/>
                    <a:moveTo>
                      <a:pt x="143" y="778"/>
                    </a:moveTo>
                    <a:lnTo>
                      <a:pt x="143" y="822"/>
                    </a:lnTo>
                    <a:lnTo>
                      <a:pt x="100" y="822"/>
                    </a:lnTo>
                    <a:lnTo>
                      <a:pt x="100" y="778"/>
                    </a:lnTo>
                    <a:lnTo>
                      <a:pt x="143" y="778"/>
                    </a:lnTo>
                    <a:close/>
                    <a:moveTo>
                      <a:pt x="143" y="827"/>
                    </a:moveTo>
                    <a:lnTo>
                      <a:pt x="143" y="871"/>
                    </a:lnTo>
                    <a:lnTo>
                      <a:pt x="100" y="871"/>
                    </a:lnTo>
                    <a:lnTo>
                      <a:pt x="100" y="827"/>
                    </a:lnTo>
                    <a:lnTo>
                      <a:pt x="143" y="827"/>
                    </a:lnTo>
                    <a:close/>
                    <a:moveTo>
                      <a:pt x="149" y="827"/>
                    </a:moveTo>
                    <a:lnTo>
                      <a:pt x="191" y="827"/>
                    </a:lnTo>
                    <a:lnTo>
                      <a:pt x="191" y="871"/>
                    </a:lnTo>
                    <a:lnTo>
                      <a:pt x="149" y="871"/>
                    </a:lnTo>
                    <a:lnTo>
                      <a:pt x="149" y="827"/>
                    </a:lnTo>
                    <a:close/>
                    <a:moveTo>
                      <a:pt x="197" y="827"/>
                    </a:moveTo>
                    <a:lnTo>
                      <a:pt x="240" y="827"/>
                    </a:lnTo>
                    <a:lnTo>
                      <a:pt x="240" y="871"/>
                    </a:lnTo>
                    <a:lnTo>
                      <a:pt x="197" y="871"/>
                    </a:lnTo>
                    <a:lnTo>
                      <a:pt x="197" y="827"/>
                    </a:lnTo>
                    <a:close/>
                    <a:moveTo>
                      <a:pt x="246" y="827"/>
                    </a:moveTo>
                    <a:lnTo>
                      <a:pt x="288" y="827"/>
                    </a:lnTo>
                    <a:lnTo>
                      <a:pt x="288" y="871"/>
                    </a:lnTo>
                    <a:lnTo>
                      <a:pt x="246" y="871"/>
                    </a:lnTo>
                    <a:lnTo>
                      <a:pt x="246" y="827"/>
                    </a:lnTo>
                    <a:close/>
                    <a:moveTo>
                      <a:pt x="293" y="827"/>
                    </a:moveTo>
                    <a:lnTo>
                      <a:pt x="337" y="827"/>
                    </a:lnTo>
                    <a:lnTo>
                      <a:pt x="337" y="871"/>
                    </a:lnTo>
                    <a:lnTo>
                      <a:pt x="293" y="871"/>
                    </a:lnTo>
                    <a:lnTo>
                      <a:pt x="293" y="827"/>
                    </a:lnTo>
                    <a:close/>
                    <a:moveTo>
                      <a:pt x="341" y="827"/>
                    </a:moveTo>
                    <a:lnTo>
                      <a:pt x="385" y="827"/>
                    </a:lnTo>
                    <a:lnTo>
                      <a:pt x="385" y="871"/>
                    </a:lnTo>
                    <a:lnTo>
                      <a:pt x="341" y="871"/>
                    </a:lnTo>
                    <a:lnTo>
                      <a:pt x="341" y="827"/>
                    </a:lnTo>
                    <a:close/>
                    <a:moveTo>
                      <a:pt x="390" y="827"/>
                    </a:moveTo>
                    <a:lnTo>
                      <a:pt x="434" y="827"/>
                    </a:lnTo>
                    <a:lnTo>
                      <a:pt x="434" y="871"/>
                    </a:lnTo>
                    <a:lnTo>
                      <a:pt x="390" y="871"/>
                    </a:lnTo>
                    <a:lnTo>
                      <a:pt x="390" y="827"/>
                    </a:lnTo>
                    <a:close/>
                    <a:moveTo>
                      <a:pt x="438" y="827"/>
                    </a:moveTo>
                    <a:lnTo>
                      <a:pt x="482" y="827"/>
                    </a:lnTo>
                    <a:lnTo>
                      <a:pt x="482" y="871"/>
                    </a:lnTo>
                    <a:lnTo>
                      <a:pt x="438" y="871"/>
                    </a:lnTo>
                    <a:lnTo>
                      <a:pt x="438" y="827"/>
                    </a:lnTo>
                    <a:close/>
                    <a:moveTo>
                      <a:pt x="487" y="827"/>
                    </a:moveTo>
                    <a:lnTo>
                      <a:pt x="531" y="827"/>
                    </a:lnTo>
                    <a:lnTo>
                      <a:pt x="531" y="871"/>
                    </a:lnTo>
                    <a:lnTo>
                      <a:pt x="487" y="871"/>
                    </a:lnTo>
                    <a:lnTo>
                      <a:pt x="487" y="827"/>
                    </a:lnTo>
                    <a:close/>
                    <a:moveTo>
                      <a:pt x="535" y="827"/>
                    </a:moveTo>
                    <a:lnTo>
                      <a:pt x="579" y="827"/>
                    </a:lnTo>
                    <a:lnTo>
                      <a:pt x="579" y="871"/>
                    </a:lnTo>
                    <a:lnTo>
                      <a:pt x="535" y="871"/>
                    </a:lnTo>
                    <a:lnTo>
                      <a:pt x="535" y="827"/>
                    </a:lnTo>
                    <a:close/>
                    <a:moveTo>
                      <a:pt x="584" y="827"/>
                    </a:moveTo>
                    <a:lnTo>
                      <a:pt x="628" y="827"/>
                    </a:lnTo>
                    <a:lnTo>
                      <a:pt x="628" y="871"/>
                    </a:lnTo>
                    <a:lnTo>
                      <a:pt x="584" y="871"/>
                    </a:lnTo>
                    <a:lnTo>
                      <a:pt x="584" y="827"/>
                    </a:lnTo>
                    <a:close/>
                    <a:moveTo>
                      <a:pt x="632" y="827"/>
                    </a:moveTo>
                    <a:lnTo>
                      <a:pt x="676" y="827"/>
                    </a:lnTo>
                    <a:lnTo>
                      <a:pt x="676" y="871"/>
                    </a:lnTo>
                    <a:lnTo>
                      <a:pt x="632" y="871"/>
                    </a:lnTo>
                    <a:lnTo>
                      <a:pt x="632" y="827"/>
                    </a:lnTo>
                    <a:close/>
                    <a:moveTo>
                      <a:pt x="681" y="827"/>
                    </a:moveTo>
                    <a:lnTo>
                      <a:pt x="725" y="827"/>
                    </a:lnTo>
                    <a:lnTo>
                      <a:pt x="725" y="871"/>
                    </a:lnTo>
                    <a:lnTo>
                      <a:pt x="681" y="871"/>
                    </a:lnTo>
                    <a:lnTo>
                      <a:pt x="681" y="827"/>
                    </a:lnTo>
                    <a:close/>
                    <a:moveTo>
                      <a:pt x="729" y="827"/>
                    </a:moveTo>
                    <a:lnTo>
                      <a:pt x="822" y="827"/>
                    </a:lnTo>
                    <a:lnTo>
                      <a:pt x="822" y="871"/>
                    </a:lnTo>
                    <a:lnTo>
                      <a:pt x="729" y="871"/>
                    </a:lnTo>
                    <a:lnTo>
                      <a:pt x="729" y="827"/>
                    </a:lnTo>
                    <a:close/>
                    <a:moveTo>
                      <a:pt x="826" y="827"/>
                    </a:moveTo>
                    <a:lnTo>
                      <a:pt x="870" y="827"/>
                    </a:lnTo>
                    <a:lnTo>
                      <a:pt x="870" y="871"/>
                    </a:lnTo>
                    <a:lnTo>
                      <a:pt x="826" y="871"/>
                    </a:lnTo>
                    <a:lnTo>
                      <a:pt x="826" y="827"/>
                    </a:lnTo>
                    <a:close/>
                    <a:moveTo>
                      <a:pt x="875" y="827"/>
                    </a:moveTo>
                    <a:lnTo>
                      <a:pt x="919" y="827"/>
                    </a:lnTo>
                    <a:lnTo>
                      <a:pt x="919" y="871"/>
                    </a:lnTo>
                    <a:lnTo>
                      <a:pt x="875" y="871"/>
                    </a:lnTo>
                    <a:lnTo>
                      <a:pt x="875" y="827"/>
                    </a:lnTo>
                    <a:close/>
                    <a:moveTo>
                      <a:pt x="924" y="827"/>
                    </a:moveTo>
                    <a:lnTo>
                      <a:pt x="967" y="827"/>
                    </a:lnTo>
                    <a:lnTo>
                      <a:pt x="967" y="871"/>
                    </a:lnTo>
                    <a:lnTo>
                      <a:pt x="924" y="871"/>
                    </a:lnTo>
                    <a:lnTo>
                      <a:pt x="924" y="827"/>
                    </a:lnTo>
                    <a:close/>
                    <a:moveTo>
                      <a:pt x="972" y="827"/>
                    </a:moveTo>
                    <a:lnTo>
                      <a:pt x="1016" y="827"/>
                    </a:lnTo>
                    <a:lnTo>
                      <a:pt x="1016" y="871"/>
                    </a:lnTo>
                    <a:lnTo>
                      <a:pt x="972" y="871"/>
                    </a:lnTo>
                    <a:lnTo>
                      <a:pt x="972" y="827"/>
                    </a:lnTo>
                    <a:close/>
                    <a:moveTo>
                      <a:pt x="1021" y="827"/>
                    </a:moveTo>
                    <a:lnTo>
                      <a:pt x="1065" y="827"/>
                    </a:lnTo>
                    <a:lnTo>
                      <a:pt x="1065" y="871"/>
                    </a:lnTo>
                    <a:lnTo>
                      <a:pt x="1021" y="871"/>
                    </a:lnTo>
                    <a:lnTo>
                      <a:pt x="1021" y="827"/>
                    </a:lnTo>
                    <a:close/>
                    <a:moveTo>
                      <a:pt x="1069" y="827"/>
                    </a:moveTo>
                    <a:lnTo>
                      <a:pt x="1113" y="827"/>
                    </a:lnTo>
                    <a:lnTo>
                      <a:pt x="1113" y="871"/>
                    </a:lnTo>
                    <a:lnTo>
                      <a:pt x="1069" y="871"/>
                    </a:lnTo>
                    <a:lnTo>
                      <a:pt x="1069" y="827"/>
                    </a:lnTo>
                    <a:close/>
                    <a:moveTo>
                      <a:pt x="1118" y="827"/>
                    </a:moveTo>
                    <a:lnTo>
                      <a:pt x="1162" y="827"/>
                    </a:lnTo>
                    <a:lnTo>
                      <a:pt x="1162" y="871"/>
                    </a:lnTo>
                    <a:lnTo>
                      <a:pt x="1118" y="871"/>
                    </a:lnTo>
                    <a:lnTo>
                      <a:pt x="1118" y="827"/>
                    </a:lnTo>
                    <a:close/>
                    <a:moveTo>
                      <a:pt x="1166" y="827"/>
                    </a:moveTo>
                    <a:lnTo>
                      <a:pt x="1210" y="827"/>
                    </a:lnTo>
                    <a:lnTo>
                      <a:pt x="1210" y="871"/>
                    </a:lnTo>
                    <a:lnTo>
                      <a:pt x="1166" y="871"/>
                    </a:lnTo>
                    <a:lnTo>
                      <a:pt x="1166" y="827"/>
                    </a:lnTo>
                    <a:close/>
                    <a:moveTo>
                      <a:pt x="1215" y="827"/>
                    </a:moveTo>
                    <a:lnTo>
                      <a:pt x="1259" y="827"/>
                    </a:lnTo>
                    <a:lnTo>
                      <a:pt x="1259" y="871"/>
                    </a:lnTo>
                    <a:lnTo>
                      <a:pt x="1215" y="871"/>
                    </a:lnTo>
                    <a:lnTo>
                      <a:pt x="1215" y="827"/>
                    </a:lnTo>
                    <a:close/>
                    <a:moveTo>
                      <a:pt x="1263" y="827"/>
                    </a:moveTo>
                    <a:lnTo>
                      <a:pt x="1307" y="827"/>
                    </a:lnTo>
                    <a:lnTo>
                      <a:pt x="1307" y="871"/>
                    </a:lnTo>
                    <a:lnTo>
                      <a:pt x="1263" y="871"/>
                    </a:lnTo>
                    <a:lnTo>
                      <a:pt x="1263" y="827"/>
                    </a:lnTo>
                    <a:close/>
                    <a:moveTo>
                      <a:pt x="1312" y="827"/>
                    </a:moveTo>
                    <a:lnTo>
                      <a:pt x="1354" y="827"/>
                    </a:lnTo>
                    <a:lnTo>
                      <a:pt x="1354" y="871"/>
                    </a:lnTo>
                    <a:lnTo>
                      <a:pt x="1312" y="871"/>
                    </a:lnTo>
                    <a:lnTo>
                      <a:pt x="1312" y="827"/>
                    </a:lnTo>
                    <a:close/>
                    <a:moveTo>
                      <a:pt x="1360" y="827"/>
                    </a:moveTo>
                    <a:lnTo>
                      <a:pt x="1403" y="827"/>
                    </a:lnTo>
                    <a:lnTo>
                      <a:pt x="1403" y="871"/>
                    </a:lnTo>
                    <a:lnTo>
                      <a:pt x="1360" y="871"/>
                    </a:lnTo>
                    <a:lnTo>
                      <a:pt x="1360" y="827"/>
                    </a:lnTo>
                    <a:close/>
                    <a:moveTo>
                      <a:pt x="1409" y="827"/>
                    </a:moveTo>
                    <a:lnTo>
                      <a:pt x="1451" y="827"/>
                    </a:lnTo>
                    <a:lnTo>
                      <a:pt x="1451" y="871"/>
                    </a:lnTo>
                    <a:lnTo>
                      <a:pt x="1409" y="871"/>
                    </a:lnTo>
                    <a:lnTo>
                      <a:pt x="1409" y="827"/>
                    </a:lnTo>
                    <a:close/>
                    <a:moveTo>
                      <a:pt x="1409" y="822"/>
                    </a:moveTo>
                    <a:lnTo>
                      <a:pt x="1409" y="778"/>
                    </a:lnTo>
                    <a:lnTo>
                      <a:pt x="1451" y="778"/>
                    </a:lnTo>
                    <a:lnTo>
                      <a:pt x="1451" y="822"/>
                    </a:lnTo>
                    <a:lnTo>
                      <a:pt x="1409" y="822"/>
                    </a:lnTo>
                    <a:close/>
                    <a:moveTo>
                      <a:pt x="1409" y="774"/>
                    </a:moveTo>
                    <a:lnTo>
                      <a:pt x="1409" y="730"/>
                    </a:lnTo>
                    <a:lnTo>
                      <a:pt x="1451" y="730"/>
                    </a:lnTo>
                    <a:lnTo>
                      <a:pt x="1451" y="774"/>
                    </a:lnTo>
                    <a:lnTo>
                      <a:pt x="1409" y="774"/>
                    </a:lnTo>
                    <a:close/>
                    <a:moveTo>
                      <a:pt x="1409" y="725"/>
                    </a:moveTo>
                    <a:lnTo>
                      <a:pt x="1409" y="683"/>
                    </a:lnTo>
                    <a:lnTo>
                      <a:pt x="1451" y="683"/>
                    </a:lnTo>
                    <a:lnTo>
                      <a:pt x="1451" y="725"/>
                    </a:lnTo>
                    <a:lnTo>
                      <a:pt x="1409" y="725"/>
                    </a:lnTo>
                    <a:close/>
                    <a:moveTo>
                      <a:pt x="1409" y="677"/>
                    </a:moveTo>
                    <a:lnTo>
                      <a:pt x="1409" y="634"/>
                    </a:lnTo>
                    <a:lnTo>
                      <a:pt x="1451" y="634"/>
                    </a:lnTo>
                    <a:lnTo>
                      <a:pt x="1451" y="677"/>
                    </a:lnTo>
                    <a:lnTo>
                      <a:pt x="1409" y="677"/>
                    </a:lnTo>
                    <a:close/>
                    <a:moveTo>
                      <a:pt x="1409" y="628"/>
                    </a:moveTo>
                    <a:lnTo>
                      <a:pt x="1409" y="586"/>
                    </a:lnTo>
                    <a:lnTo>
                      <a:pt x="1451" y="586"/>
                    </a:lnTo>
                    <a:lnTo>
                      <a:pt x="1451" y="628"/>
                    </a:lnTo>
                    <a:lnTo>
                      <a:pt x="1409" y="628"/>
                    </a:lnTo>
                    <a:close/>
                    <a:moveTo>
                      <a:pt x="1409" y="580"/>
                    </a:moveTo>
                    <a:lnTo>
                      <a:pt x="1409" y="537"/>
                    </a:lnTo>
                    <a:lnTo>
                      <a:pt x="1451" y="537"/>
                    </a:lnTo>
                    <a:lnTo>
                      <a:pt x="1451" y="580"/>
                    </a:lnTo>
                    <a:lnTo>
                      <a:pt x="1409" y="580"/>
                    </a:lnTo>
                    <a:close/>
                    <a:moveTo>
                      <a:pt x="1409" y="531"/>
                    </a:moveTo>
                    <a:lnTo>
                      <a:pt x="1409" y="440"/>
                    </a:lnTo>
                    <a:lnTo>
                      <a:pt x="1451" y="440"/>
                    </a:lnTo>
                    <a:lnTo>
                      <a:pt x="1451" y="531"/>
                    </a:lnTo>
                    <a:lnTo>
                      <a:pt x="1409" y="531"/>
                    </a:lnTo>
                    <a:close/>
                    <a:moveTo>
                      <a:pt x="1409" y="435"/>
                    </a:moveTo>
                    <a:lnTo>
                      <a:pt x="1409" y="391"/>
                    </a:lnTo>
                    <a:lnTo>
                      <a:pt x="1451" y="391"/>
                    </a:lnTo>
                    <a:lnTo>
                      <a:pt x="1451" y="435"/>
                    </a:lnTo>
                    <a:lnTo>
                      <a:pt x="1409" y="435"/>
                    </a:lnTo>
                    <a:close/>
                    <a:moveTo>
                      <a:pt x="1409" y="387"/>
                    </a:moveTo>
                    <a:lnTo>
                      <a:pt x="1409" y="343"/>
                    </a:lnTo>
                    <a:lnTo>
                      <a:pt x="1451" y="343"/>
                    </a:lnTo>
                    <a:lnTo>
                      <a:pt x="1451" y="387"/>
                    </a:lnTo>
                    <a:lnTo>
                      <a:pt x="1409" y="387"/>
                    </a:lnTo>
                    <a:close/>
                    <a:moveTo>
                      <a:pt x="1409" y="338"/>
                    </a:moveTo>
                    <a:lnTo>
                      <a:pt x="1409" y="294"/>
                    </a:lnTo>
                    <a:lnTo>
                      <a:pt x="1451" y="294"/>
                    </a:lnTo>
                    <a:lnTo>
                      <a:pt x="1451" y="338"/>
                    </a:lnTo>
                    <a:lnTo>
                      <a:pt x="1409" y="338"/>
                    </a:lnTo>
                    <a:close/>
                    <a:moveTo>
                      <a:pt x="1409" y="290"/>
                    </a:moveTo>
                    <a:lnTo>
                      <a:pt x="1409" y="246"/>
                    </a:lnTo>
                    <a:lnTo>
                      <a:pt x="1451" y="246"/>
                    </a:lnTo>
                    <a:lnTo>
                      <a:pt x="1451" y="290"/>
                    </a:lnTo>
                    <a:lnTo>
                      <a:pt x="1409" y="290"/>
                    </a:lnTo>
                    <a:close/>
                    <a:moveTo>
                      <a:pt x="1409" y="241"/>
                    </a:moveTo>
                    <a:lnTo>
                      <a:pt x="1409" y="197"/>
                    </a:lnTo>
                    <a:lnTo>
                      <a:pt x="1451" y="197"/>
                    </a:lnTo>
                    <a:lnTo>
                      <a:pt x="1451" y="241"/>
                    </a:lnTo>
                    <a:lnTo>
                      <a:pt x="1409" y="241"/>
                    </a:lnTo>
                    <a:close/>
                    <a:moveTo>
                      <a:pt x="1409" y="193"/>
                    </a:moveTo>
                    <a:lnTo>
                      <a:pt x="1409" y="149"/>
                    </a:lnTo>
                    <a:lnTo>
                      <a:pt x="1451" y="149"/>
                    </a:lnTo>
                    <a:lnTo>
                      <a:pt x="1451" y="193"/>
                    </a:lnTo>
                    <a:lnTo>
                      <a:pt x="1409" y="193"/>
                    </a:lnTo>
                    <a:close/>
                    <a:moveTo>
                      <a:pt x="1409" y="144"/>
                    </a:moveTo>
                    <a:lnTo>
                      <a:pt x="1409" y="100"/>
                    </a:lnTo>
                    <a:lnTo>
                      <a:pt x="1451" y="100"/>
                    </a:lnTo>
                    <a:lnTo>
                      <a:pt x="1451" y="144"/>
                    </a:lnTo>
                    <a:lnTo>
                      <a:pt x="1409" y="144"/>
                    </a:lnTo>
                    <a:close/>
                    <a:moveTo>
                      <a:pt x="1403" y="51"/>
                    </a:moveTo>
                    <a:lnTo>
                      <a:pt x="1403" y="95"/>
                    </a:lnTo>
                    <a:lnTo>
                      <a:pt x="1360" y="95"/>
                    </a:lnTo>
                    <a:lnTo>
                      <a:pt x="1360" y="51"/>
                    </a:lnTo>
                    <a:lnTo>
                      <a:pt x="1403" y="51"/>
                    </a:lnTo>
                    <a:close/>
                    <a:moveTo>
                      <a:pt x="1354" y="51"/>
                    </a:moveTo>
                    <a:lnTo>
                      <a:pt x="1354" y="95"/>
                    </a:lnTo>
                    <a:lnTo>
                      <a:pt x="1312" y="95"/>
                    </a:lnTo>
                    <a:lnTo>
                      <a:pt x="1312" y="51"/>
                    </a:lnTo>
                    <a:lnTo>
                      <a:pt x="1354" y="51"/>
                    </a:lnTo>
                    <a:close/>
                    <a:moveTo>
                      <a:pt x="1307" y="51"/>
                    </a:moveTo>
                    <a:lnTo>
                      <a:pt x="1307" y="95"/>
                    </a:lnTo>
                    <a:lnTo>
                      <a:pt x="1263" y="95"/>
                    </a:lnTo>
                    <a:lnTo>
                      <a:pt x="1263" y="51"/>
                    </a:lnTo>
                    <a:lnTo>
                      <a:pt x="1307" y="51"/>
                    </a:lnTo>
                    <a:close/>
                    <a:moveTo>
                      <a:pt x="1259" y="51"/>
                    </a:moveTo>
                    <a:lnTo>
                      <a:pt x="1259" y="95"/>
                    </a:lnTo>
                    <a:lnTo>
                      <a:pt x="1215" y="95"/>
                    </a:lnTo>
                    <a:lnTo>
                      <a:pt x="1215" y="51"/>
                    </a:lnTo>
                    <a:lnTo>
                      <a:pt x="1259" y="51"/>
                    </a:lnTo>
                    <a:close/>
                    <a:moveTo>
                      <a:pt x="1210" y="51"/>
                    </a:moveTo>
                    <a:lnTo>
                      <a:pt x="1210" y="95"/>
                    </a:lnTo>
                    <a:lnTo>
                      <a:pt x="1166" y="95"/>
                    </a:lnTo>
                    <a:lnTo>
                      <a:pt x="1166" y="51"/>
                    </a:lnTo>
                    <a:lnTo>
                      <a:pt x="1210" y="51"/>
                    </a:lnTo>
                    <a:close/>
                    <a:moveTo>
                      <a:pt x="1162" y="51"/>
                    </a:moveTo>
                    <a:lnTo>
                      <a:pt x="1162" y="95"/>
                    </a:lnTo>
                    <a:lnTo>
                      <a:pt x="1118" y="95"/>
                    </a:lnTo>
                    <a:lnTo>
                      <a:pt x="1118" y="51"/>
                    </a:lnTo>
                    <a:lnTo>
                      <a:pt x="1162" y="51"/>
                    </a:lnTo>
                    <a:close/>
                    <a:moveTo>
                      <a:pt x="1113" y="51"/>
                    </a:moveTo>
                    <a:lnTo>
                      <a:pt x="1113" y="95"/>
                    </a:lnTo>
                    <a:lnTo>
                      <a:pt x="1069" y="95"/>
                    </a:lnTo>
                    <a:lnTo>
                      <a:pt x="1069" y="51"/>
                    </a:lnTo>
                    <a:lnTo>
                      <a:pt x="1113" y="51"/>
                    </a:lnTo>
                    <a:close/>
                    <a:moveTo>
                      <a:pt x="1065" y="51"/>
                    </a:moveTo>
                    <a:lnTo>
                      <a:pt x="1065" y="95"/>
                    </a:lnTo>
                    <a:lnTo>
                      <a:pt x="1021" y="95"/>
                    </a:lnTo>
                    <a:lnTo>
                      <a:pt x="1021" y="51"/>
                    </a:lnTo>
                    <a:lnTo>
                      <a:pt x="1065" y="51"/>
                    </a:lnTo>
                    <a:close/>
                    <a:moveTo>
                      <a:pt x="1016" y="51"/>
                    </a:moveTo>
                    <a:lnTo>
                      <a:pt x="1016" y="95"/>
                    </a:lnTo>
                    <a:lnTo>
                      <a:pt x="972" y="95"/>
                    </a:lnTo>
                    <a:lnTo>
                      <a:pt x="972" y="51"/>
                    </a:lnTo>
                    <a:lnTo>
                      <a:pt x="1016" y="51"/>
                    </a:lnTo>
                    <a:close/>
                    <a:moveTo>
                      <a:pt x="967" y="51"/>
                    </a:moveTo>
                    <a:lnTo>
                      <a:pt x="967" y="95"/>
                    </a:lnTo>
                    <a:lnTo>
                      <a:pt x="924" y="95"/>
                    </a:lnTo>
                    <a:lnTo>
                      <a:pt x="924" y="51"/>
                    </a:lnTo>
                    <a:lnTo>
                      <a:pt x="967" y="51"/>
                    </a:lnTo>
                    <a:close/>
                    <a:moveTo>
                      <a:pt x="919" y="51"/>
                    </a:moveTo>
                    <a:lnTo>
                      <a:pt x="919" y="95"/>
                    </a:lnTo>
                    <a:lnTo>
                      <a:pt x="875" y="95"/>
                    </a:lnTo>
                    <a:lnTo>
                      <a:pt x="875" y="51"/>
                    </a:lnTo>
                    <a:lnTo>
                      <a:pt x="919" y="51"/>
                    </a:lnTo>
                    <a:close/>
                    <a:moveTo>
                      <a:pt x="870" y="51"/>
                    </a:moveTo>
                    <a:lnTo>
                      <a:pt x="870" y="95"/>
                    </a:lnTo>
                    <a:lnTo>
                      <a:pt x="826" y="95"/>
                    </a:lnTo>
                    <a:lnTo>
                      <a:pt x="826" y="51"/>
                    </a:lnTo>
                    <a:lnTo>
                      <a:pt x="870" y="51"/>
                    </a:lnTo>
                    <a:close/>
                    <a:moveTo>
                      <a:pt x="822" y="51"/>
                    </a:moveTo>
                    <a:lnTo>
                      <a:pt x="822" y="95"/>
                    </a:lnTo>
                    <a:lnTo>
                      <a:pt x="729" y="95"/>
                    </a:lnTo>
                    <a:lnTo>
                      <a:pt x="729" y="51"/>
                    </a:lnTo>
                    <a:lnTo>
                      <a:pt x="822" y="51"/>
                    </a:lnTo>
                    <a:close/>
                    <a:moveTo>
                      <a:pt x="725" y="51"/>
                    </a:moveTo>
                    <a:lnTo>
                      <a:pt x="725" y="95"/>
                    </a:lnTo>
                    <a:lnTo>
                      <a:pt x="681" y="95"/>
                    </a:lnTo>
                    <a:lnTo>
                      <a:pt x="681" y="51"/>
                    </a:lnTo>
                    <a:lnTo>
                      <a:pt x="725" y="51"/>
                    </a:lnTo>
                    <a:close/>
                    <a:moveTo>
                      <a:pt x="676" y="51"/>
                    </a:moveTo>
                    <a:lnTo>
                      <a:pt x="676" y="95"/>
                    </a:lnTo>
                    <a:lnTo>
                      <a:pt x="632" y="95"/>
                    </a:lnTo>
                    <a:lnTo>
                      <a:pt x="632" y="51"/>
                    </a:lnTo>
                    <a:lnTo>
                      <a:pt x="676" y="51"/>
                    </a:lnTo>
                    <a:close/>
                    <a:moveTo>
                      <a:pt x="628" y="51"/>
                    </a:moveTo>
                    <a:lnTo>
                      <a:pt x="628" y="95"/>
                    </a:lnTo>
                    <a:lnTo>
                      <a:pt x="584" y="95"/>
                    </a:lnTo>
                    <a:lnTo>
                      <a:pt x="584" y="51"/>
                    </a:lnTo>
                    <a:lnTo>
                      <a:pt x="628" y="51"/>
                    </a:lnTo>
                    <a:close/>
                    <a:moveTo>
                      <a:pt x="579" y="51"/>
                    </a:moveTo>
                    <a:lnTo>
                      <a:pt x="579" y="95"/>
                    </a:lnTo>
                    <a:lnTo>
                      <a:pt x="535" y="95"/>
                    </a:lnTo>
                    <a:lnTo>
                      <a:pt x="535" y="51"/>
                    </a:lnTo>
                    <a:lnTo>
                      <a:pt x="579" y="51"/>
                    </a:lnTo>
                    <a:close/>
                    <a:moveTo>
                      <a:pt x="531" y="51"/>
                    </a:moveTo>
                    <a:lnTo>
                      <a:pt x="531" y="95"/>
                    </a:lnTo>
                    <a:lnTo>
                      <a:pt x="487" y="95"/>
                    </a:lnTo>
                    <a:lnTo>
                      <a:pt x="487" y="51"/>
                    </a:lnTo>
                    <a:lnTo>
                      <a:pt x="531" y="51"/>
                    </a:lnTo>
                    <a:close/>
                    <a:moveTo>
                      <a:pt x="482" y="51"/>
                    </a:moveTo>
                    <a:lnTo>
                      <a:pt x="482" y="95"/>
                    </a:lnTo>
                    <a:lnTo>
                      <a:pt x="438" y="95"/>
                    </a:lnTo>
                    <a:lnTo>
                      <a:pt x="438" y="51"/>
                    </a:lnTo>
                    <a:lnTo>
                      <a:pt x="482" y="51"/>
                    </a:lnTo>
                    <a:close/>
                    <a:moveTo>
                      <a:pt x="434" y="51"/>
                    </a:moveTo>
                    <a:lnTo>
                      <a:pt x="434" y="95"/>
                    </a:lnTo>
                    <a:lnTo>
                      <a:pt x="390" y="95"/>
                    </a:lnTo>
                    <a:lnTo>
                      <a:pt x="390" y="51"/>
                    </a:lnTo>
                    <a:lnTo>
                      <a:pt x="434" y="51"/>
                    </a:lnTo>
                    <a:close/>
                    <a:moveTo>
                      <a:pt x="385" y="51"/>
                    </a:moveTo>
                    <a:lnTo>
                      <a:pt x="385" y="95"/>
                    </a:lnTo>
                    <a:lnTo>
                      <a:pt x="341" y="95"/>
                    </a:lnTo>
                    <a:lnTo>
                      <a:pt x="341" y="51"/>
                    </a:lnTo>
                    <a:lnTo>
                      <a:pt x="385" y="51"/>
                    </a:lnTo>
                    <a:close/>
                    <a:moveTo>
                      <a:pt x="337" y="51"/>
                    </a:moveTo>
                    <a:lnTo>
                      <a:pt x="337" y="95"/>
                    </a:lnTo>
                    <a:lnTo>
                      <a:pt x="293" y="95"/>
                    </a:lnTo>
                    <a:lnTo>
                      <a:pt x="293" y="51"/>
                    </a:lnTo>
                    <a:lnTo>
                      <a:pt x="337" y="51"/>
                    </a:lnTo>
                    <a:close/>
                    <a:moveTo>
                      <a:pt x="288" y="51"/>
                    </a:moveTo>
                    <a:lnTo>
                      <a:pt x="288" y="95"/>
                    </a:lnTo>
                    <a:lnTo>
                      <a:pt x="246" y="95"/>
                    </a:lnTo>
                    <a:lnTo>
                      <a:pt x="246" y="51"/>
                    </a:lnTo>
                    <a:lnTo>
                      <a:pt x="288" y="51"/>
                    </a:lnTo>
                    <a:close/>
                    <a:moveTo>
                      <a:pt x="240" y="51"/>
                    </a:moveTo>
                    <a:lnTo>
                      <a:pt x="240" y="95"/>
                    </a:lnTo>
                    <a:lnTo>
                      <a:pt x="197" y="95"/>
                    </a:lnTo>
                    <a:lnTo>
                      <a:pt x="197" y="51"/>
                    </a:lnTo>
                    <a:lnTo>
                      <a:pt x="240" y="51"/>
                    </a:lnTo>
                    <a:close/>
                    <a:moveTo>
                      <a:pt x="191" y="51"/>
                    </a:moveTo>
                    <a:lnTo>
                      <a:pt x="191" y="95"/>
                    </a:lnTo>
                    <a:lnTo>
                      <a:pt x="149" y="95"/>
                    </a:lnTo>
                    <a:lnTo>
                      <a:pt x="149" y="51"/>
                    </a:lnTo>
                    <a:lnTo>
                      <a:pt x="191" y="51"/>
                    </a:lnTo>
                    <a:close/>
                    <a:moveTo>
                      <a:pt x="143" y="51"/>
                    </a:moveTo>
                    <a:lnTo>
                      <a:pt x="143" y="95"/>
                    </a:lnTo>
                    <a:lnTo>
                      <a:pt x="100" y="95"/>
                    </a:lnTo>
                    <a:lnTo>
                      <a:pt x="100" y="51"/>
                    </a:lnTo>
                    <a:lnTo>
                      <a:pt x="143" y="51"/>
                    </a:lnTo>
                    <a:close/>
                    <a:moveTo>
                      <a:pt x="52" y="51"/>
                    </a:moveTo>
                    <a:lnTo>
                      <a:pt x="94" y="51"/>
                    </a:lnTo>
                    <a:lnTo>
                      <a:pt x="94" y="95"/>
                    </a:lnTo>
                    <a:lnTo>
                      <a:pt x="52" y="95"/>
                    </a:lnTo>
                    <a:lnTo>
                      <a:pt x="52" y="51"/>
                    </a:lnTo>
                    <a:close/>
                    <a:moveTo>
                      <a:pt x="52" y="100"/>
                    </a:moveTo>
                    <a:lnTo>
                      <a:pt x="94" y="100"/>
                    </a:lnTo>
                    <a:lnTo>
                      <a:pt x="94" y="144"/>
                    </a:lnTo>
                    <a:lnTo>
                      <a:pt x="52" y="144"/>
                    </a:lnTo>
                    <a:lnTo>
                      <a:pt x="52" y="100"/>
                    </a:lnTo>
                    <a:close/>
                    <a:moveTo>
                      <a:pt x="52" y="149"/>
                    </a:moveTo>
                    <a:lnTo>
                      <a:pt x="94" y="149"/>
                    </a:lnTo>
                    <a:lnTo>
                      <a:pt x="94" y="193"/>
                    </a:lnTo>
                    <a:lnTo>
                      <a:pt x="52" y="193"/>
                    </a:lnTo>
                    <a:lnTo>
                      <a:pt x="52" y="149"/>
                    </a:lnTo>
                    <a:close/>
                    <a:moveTo>
                      <a:pt x="52" y="197"/>
                    </a:moveTo>
                    <a:lnTo>
                      <a:pt x="94" y="197"/>
                    </a:lnTo>
                    <a:lnTo>
                      <a:pt x="94" y="241"/>
                    </a:lnTo>
                    <a:lnTo>
                      <a:pt x="52" y="241"/>
                    </a:lnTo>
                    <a:lnTo>
                      <a:pt x="52" y="197"/>
                    </a:lnTo>
                    <a:close/>
                    <a:moveTo>
                      <a:pt x="52" y="246"/>
                    </a:moveTo>
                    <a:lnTo>
                      <a:pt x="94" y="246"/>
                    </a:lnTo>
                    <a:lnTo>
                      <a:pt x="94" y="290"/>
                    </a:lnTo>
                    <a:lnTo>
                      <a:pt x="52" y="290"/>
                    </a:lnTo>
                    <a:lnTo>
                      <a:pt x="52" y="246"/>
                    </a:lnTo>
                    <a:close/>
                    <a:moveTo>
                      <a:pt x="52" y="294"/>
                    </a:moveTo>
                    <a:lnTo>
                      <a:pt x="94" y="294"/>
                    </a:lnTo>
                    <a:lnTo>
                      <a:pt x="94" y="338"/>
                    </a:lnTo>
                    <a:lnTo>
                      <a:pt x="52" y="338"/>
                    </a:lnTo>
                    <a:lnTo>
                      <a:pt x="52" y="294"/>
                    </a:lnTo>
                    <a:close/>
                    <a:moveTo>
                      <a:pt x="52" y="343"/>
                    </a:moveTo>
                    <a:lnTo>
                      <a:pt x="94" y="343"/>
                    </a:lnTo>
                    <a:lnTo>
                      <a:pt x="94" y="387"/>
                    </a:lnTo>
                    <a:lnTo>
                      <a:pt x="52" y="387"/>
                    </a:lnTo>
                    <a:lnTo>
                      <a:pt x="52" y="343"/>
                    </a:lnTo>
                    <a:close/>
                    <a:moveTo>
                      <a:pt x="52" y="391"/>
                    </a:moveTo>
                    <a:lnTo>
                      <a:pt x="94" y="391"/>
                    </a:lnTo>
                    <a:lnTo>
                      <a:pt x="94" y="435"/>
                    </a:lnTo>
                    <a:lnTo>
                      <a:pt x="52" y="435"/>
                    </a:lnTo>
                    <a:lnTo>
                      <a:pt x="52" y="391"/>
                    </a:lnTo>
                    <a:close/>
                    <a:moveTo>
                      <a:pt x="52" y="440"/>
                    </a:moveTo>
                    <a:lnTo>
                      <a:pt x="94" y="440"/>
                    </a:lnTo>
                    <a:lnTo>
                      <a:pt x="94" y="531"/>
                    </a:lnTo>
                    <a:lnTo>
                      <a:pt x="52" y="531"/>
                    </a:lnTo>
                    <a:lnTo>
                      <a:pt x="52" y="440"/>
                    </a:lnTo>
                    <a:close/>
                    <a:moveTo>
                      <a:pt x="52" y="537"/>
                    </a:moveTo>
                    <a:lnTo>
                      <a:pt x="94" y="537"/>
                    </a:lnTo>
                    <a:lnTo>
                      <a:pt x="94" y="580"/>
                    </a:lnTo>
                    <a:lnTo>
                      <a:pt x="52" y="580"/>
                    </a:lnTo>
                    <a:lnTo>
                      <a:pt x="52" y="537"/>
                    </a:lnTo>
                    <a:close/>
                    <a:moveTo>
                      <a:pt x="52" y="586"/>
                    </a:moveTo>
                    <a:lnTo>
                      <a:pt x="94" y="586"/>
                    </a:lnTo>
                    <a:lnTo>
                      <a:pt x="94" y="628"/>
                    </a:lnTo>
                    <a:lnTo>
                      <a:pt x="52" y="628"/>
                    </a:lnTo>
                    <a:lnTo>
                      <a:pt x="52" y="586"/>
                    </a:lnTo>
                    <a:close/>
                    <a:moveTo>
                      <a:pt x="52" y="634"/>
                    </a:moveTo>
                    <a:lnTo>
                      <a:pt x="94" y="634"/>
                    </a:lnTo>
                    <a:lnTo>
                      <a:pt x="94" y="677"/>
                    </a:lnTo>
                    <a:lnTo>
                      <a:pt x="52" y="677"/>
                    </a:lnTo>
                    <a:lnTo>
                      <a:pt x="52" y="634"/>
                    </a:lnTo>
                    <a:close/>
                    <a:moveTo>
                      <a:pt x="52" y="683"/>
                    </a:moveTo>
                    <a:lnTo>
                      <a:pt x="94" y="683"/>
                    </a:lnTo>
                    <a:lnTo>
                      <a:pt x="94" y="725"/>
                    </a:lnTo>
                    <a:lnTo>
                      <a:pt x="52" y="725"/>
                    </a:lnTo>
                    <a:lnTo>
                      <a:pt x="52" y="683"/>
                    </a:lnTo>
                    <a:close/>
                    <a:moveTo>
                      <a:pt x="52" y="730"/>
                    </a:moveTo>
                    <a:lnTo>
                      <a:pt x="94" y="730"/>
                    </a:lnTo>
                    <a:lnTo>
                      <a:pt x="94" y="774"/>
                    </a:lnTo>
                    <a:lnTo>
                      <a:pt x="52" y="774"/>
                    </a:lnTo>
                    <a:lnTo>
                      <a:pt x="52" y="730"/>
                    </a:lnTo>
                    <a:close/>
                    <a:moveTo>
                      <a:pt x="52" y="778"/>
                    </a:moveTo>
                    <a:lnTo>
                      <a:pt x="94" y="778"/>
                    </a:lnTo>
                    <a:lnTo>
                      <a:pt x="94" y="822"/>
                    </a:lnTo>
                    <a:lnTo>
                      <a:pt x="52" y="822"/>
                    </a:lnTo>
                    <a:lnTo>
                      <a:pt x="52" y="778"/>
                    </a:lnTo>
                    <a:close/>
                    <a:moveTo>
                      <a:pt x="52" y="827"/>
                    </a:moveTo>
                    <a:lnTo>
                      <a:pt x="94" y="827"/>
                    </a:lnTo>
                    <a:lnTo>
                      <a:pt x="94" y="871"/>
                    </a:lnTo>
                    <a:lnTo>
                      <a:pt x="52" y="871"/>
                    </a:lnTo>
                    <a:lnTo>
                      <a:pt x="52" y="827"/>
                    </a:lnTo>
                    <a:close/>
                    <a:moveTo>
                      <a:pt x="52" y="920"/>
                    </a:moveTo>
                    <a:lnTo>
                      <a:pt x="52" y="876"/>
                    </a:lnTo>
                    <a:lnTo>
                      <a:pt x="94" y="876"/>
                    </a:lnTo>
                    <a:lnTo>
                      <a:pt x="94" y="920"/>
                    </a:lnTo>
                    <a:lnTo>
                      <a:pt x="52" y="920"/>
                    </a:lnTo>
                    <a:close/>
                    <a:moveTo>
                      <a:pt x="100" y="920"/>
                    </a:moveTo>
                    <a:lnTo>
                      <a:pt x="100" y="876"/>
                    </a:lnTo>
                    <a:lnTo>
                      <a:pt x="143" y="876"/>
                    </a:lnTo>
                    <a:lnTo>
                      <a:pt x="143" y="920"/>
                    </a:lnTo>
                    <a:lnTo>
                      <a:pt x="100" y="920"/>
                    </a:lnTo>
                    <a:close/>
                    <a:moveTo>
                      <a:pt x="149" y="920"/>
                    </a:moveTo>
                    <a:lnTo>
                      <a:pt x="149" y="876"/>
                    </a:lnTo>
                    <a:lnTo>
                      <a:pt x="191" y="876"/>
                    </a:lnTo>
                    <a:lnTo>
                      <a:pt x="191" y="920"/>
                    </a:lnTo>
                    <a:lnTo>
                      <a:pt x="149" y="920"/>
                    </a:lnTo>
                    <a:close/>
                    <a:moveTo>
                      <a:pt x="197" y="920"/>
                    </a:moveTo>
                    <a:lnTo>
                      <a:pt x="197" y="876"/>
                    </a:lnTo>
                    <a:lnTo>
                      <a:pt x="240" y="876"/>
                    </a:lnTo>
                    <a:lnTo>
                      <a:pt x="240" y="920"/>
                    </a:lnTo>
                    <a:lnTo>
                      <a:pt x="197" y="920"/>
                    </a:lnTo>
                    <a:close/>
                    <a:moveTo>
                      <a:pt x="246" y="920"/>
                    </a:moveTo>
                    <a:lnTo>
                      <a:pt x="246" y="876"/>
                    </a:lnTo>
                    <a:lnTo>
                      <a:pt x="288" y="876"/>
                    </a:lnTo>
                    <a:lnTo>
                      <a:pt x="288" y="920"/>
                    </a:lnTo>
                    <a:lnTo>
                      <a:pt x="246" y="920"/>
                    </a:lnTo>
                    <a:close/>
                    <a:moveTo>
                      <a:pt x="293" y="920"/>
                    </a:moveTo>
                    <a:lnTo>
                      <a:pt x="293" y="876"/>
                    </a:lnTo>
                    <a:lnTo>
                      <a:pt x="337" y="876"/>
                    </a:lnTo>
                    <a:lnTo>
                      <a:pt x="337" y="920"/>
                    </a:lnTo>
                    <a:lnTo>
                      <a:pt x="293" y="920"/>
                    </a:lnTo>
                    <a:close/>
                    <a:moveTo>
                      <a:pt x="341" y="920"/>
                    </a:moveTo>
                    <a:lnTo>
                      <a:pt x="341" y="876"/>
                    </a:lnTo>
                    <a:lnTo>
                      <a:pt x="385" y="876"/>
                    </a:lnTo>
                    <a:lnTo>
                      <a:pt x="385" y="920"/>
                    </a:lnTo>
                    <a:lnTo>
                      <a:pt x="341" y="920"/>
                    </a:lnTo>
                    <a:close/>
                    <a:moveTo>
                      <a:pt x="390" y="920"/>
                    </a:moveTo>
                    <a:lnTo>
                      <a:pt x="390" y="876"/>
                    </a:lnTo>
                    <a:lnTo>
                      <a:pt x="434" y="876"/>
                    </a:lnTo>
                    <a:lnTo>
                      <a:pt x="434" y="920"/>
                    </a:lnTo>
                    <a:lnTo>
                      <a:pt x="390" y="920"/>
                    </a:lnTo>
                    <a:close/>
                    <a:moveTo>
                      <a:pt x="438" y="920"/>
                    </a:moveTo>
                    <a:lnTo>
                      <a:pt x="438" y="876"/>
                    </a:lnTo>
                    <a:lnTo>
                      <a:pt x="482" y="876"/>
                    </a:lnTo>
                    <a:lnTo>
                      <a:pt x="482" y="920"/>
                    </a:lnTo>
                    <a:lnTo>
                      <a:pt x="438" y="920"/>
                    </a:lnTo>
                    <a:close/>
                    <a:moveTo>
                      <a:pt x="487" y="920"/>
                    </a:moveTo>
                    <a:lnTo>
                      <a:pt x="487" y="876"/>
                    </a:lnTo>
                    <a:lnTo>
                      <a:pt x="531" y="876"/>
                    </a:lnTo>
                    <a:lnTo>
                      <a:pt x="531" y="920"/>
                    </a:lnTo>
                    <a:lnTo>
                      <a:pt x="487" y="920"/>
                    </a:lnTo>
                    <a:close/>
                    <a:moveTo>
                      <a:pt x="535" y="920"/>
                    </a:moveTo>
                    <a:lnTo>
                      <a:pt x="535" y="876"/>
                    </a:lnTo>
                    <a:lnTo>
                      <a:pt x="579" y="876"/>
                    </a:lnTo>
                    <a:lnTo>
                      <a:pt x="579" y="920"/>
                    </a:lnTo>
                    <a:lnTo>
                      <a:pt x="535" y="920"/>
                    </a:lnTo>
                    <a:close/>
                    <a:moveTo>
                      <a:pt x="584" y="920"/>
                    </a:moveTo>
                    <a:lnTo>
                      <a:pt x="584" y="876"/>
                    </a:lnTo>
                    <a:lnTo>
                      <a:pt x="628" y="876"/>
                    </a:lnTo>
                    <a:lnTo>
                      <a:pt x="628" y="920"/>
                    </a:lnTo>
                    <a:lnTo>
                      <a:pt x="584" y="920"/>
                    </a:lnTo>
                    <a:close/>
                    <a:moveTo>
                      <a:pt x="632" y="920"/>
                    </a:moveTo>
                    <a:lnTo>
                      <a:pt x="632" y="876"/>
                    </a:lnTo>
                    <a:lnTo>
                      <a:pt x="676" y="876"/>
                    </a:lnTo>
                    <a:lnTo>
                      <a:pt x="676" y="920"/>
                    </a:lnTo>
                    <a:lnTo>
                      <a:pt x="632" y="920"/>
                    </a:lnTo>
                    <a:close/>
                    <a:moveTo>
                      <a:pt x="681" y="920"/>
                    </a:moveTo>
                    <a:lnTo>
                      <a:pt x="681" y="876"/>
                    </a:lnTo>
                    <a:lnTo>
                      <a:pt x="725" y="876"/>
                    </a:lnTo>
                    <a:lnTo>
                      <a:pt x="725" y="920"/>
                    </a:lnTo>
                    <a:lnTo>
                      <a:pt x="681" y="920"/>
                    </a:lnTo>
                    <a:close/>
                    <a:moveTo>
                      <a:pt x="729" y="920"/>
                    </a:moveTo>
                    <a:lnTo>
                      <a:pt x="729" y="876"/>
                    </a:lnTo>
                    <a:lnTo>
                      <a:pt x="822" y="876"/>
                    </a:lnTo>
                    <a:lnTo>
                      <a:pt x="822" y="920"/>
                    </a:lnTo>
                    <a:lnTo>
                      <a:pt x="729" y="920"/>
                    </a:lnTo>
                    <a:close/>
                    <a:moveTo>
                      <a:pt x="826" y="920"/>
                    </a:moveTo>
                    <a:lnTo>
                      <a:pt x="826" y="876"/>
                    </a:lnTo>
                    <a:lnTo>
                      <a:pt x="870" y="876"/>
                    </a:lnTo>
                    <a:lnTo>
                      <a:pt x="870" y="920"/>
                    </a:lnTo>
                    <a:lnTo>
                      <a:pt x="826" y="920"/>
                    </a:lnTo>
                    <a:close/>
                    <a:moveTo>
                      <a:pt x="875" y="920"/>
                    </a:moveTo>
                    <a:lnTo>
                      <a:pt x="875" y="876"/>
                    </a:lnTo>
                    <a:lnTo>
                      <a:pt x="919" y="876"/>
                    </a:lnTo>
                    <a:lnTo>
                      <a:pt x="919" y="920"/>
                    </a:lnTo>
                    <a:lnTo>
                      <a:pt x="875" y="920"/>
                    </a:lnTo>
                    <a:close/>
                    <a:moveTo>
                      <a:pt x="924" y="920"/>
                    </a:moveTo>
                    <a:lnTo>
                      <a:pt x="924" y="876"/>
                    </a:lnTo>
                    <a:lnTo>
                      <a:pt x="967" y="876"/>
                    </a:lnTo>
                    <a:lnTo>
                      <a:pt x="967" y="920"/>
                    </a:lnTo>
                    <a:lnTo>
                      <a:pt x="924" y="920"/>
                    </a:lnTo>
                    <a:close/>
                    <a:moveTo>
                      <a:pt x="972" y="920"/>
                    </a:moveTo>
                    <a:lnTo>
                      <a:pt x="972" y="876"/>
                    </a:lnTo>
                    <a:lnTo>
                      <a:pt x="1016" y="876"/>
                    </a:lnTo>
                    <a:lnTo>
                      <a:pt x="1016" y="920"/>
                    </a:lnTo>
                    <a:lnTo>
                      <a:pt x="972" y="920"/>
                    </a:lnTo>
                    <a:close/>
                    <a:moveTo>
                      <a:pt x="1021" y="920"/>
                    </a:moveTo>
                    <a:lnTo>
                      <a:pt x="1021" y="876"/>
                    </a:lnTo>
                    <a:lnTo>
                      <a:pt x="1065" y="876"/>
                    </a:lnTo>
                    <a:lnTo>
                      <a:pt x="1065" y="920"/>
                    </a:lnTo>
                    <a:lnTo>
                      <a:pt x="1021" y="920"/>
                    </a:lnTo>
                    <a:close/>
                    <a:moveTo>
                      <a:pt x="1069" y="920"/>
                    </a:moveTo>
                    <a:lnTo>
                      <a:pt x="1069" y="876"/>
                    </a:lnTo>
                    <a:lnTo>
                      <a:pt x="1113" y="876"/>
                    </a:lnTo>
                    <a:lnTo>
                      <a:pt x="1113" y="920"/>
                    </a:lnTo>
                    <a:lnTo>
                      <a:pt x="1069" y="920"/>
                    </a:lnTo>
                    <a:close/>
                    <a:moveTo>
                      <a:pt x="1118" y="920"/>
                    </a:moveTo>
                    <a:lnTo>
                      <a:pt x="1118" y="876"/>
                    </a:lnTo>
                    <a:lnTo>
                      <a:pt x="1162" y="876"/>
                    </a:lnTo>
                    <a:lnTo>
                      <a:pt x="1162" y="920"/>
                    </a:lnTo>
                    <a:lnTo>
                      <a:pt x="1118" y="920"/>
                    </a:lnTo>
                    <a:close/>
                    <a:moveTo>
                      <a:pt x="1166" y="920"/>
                    </a:moveTo>
                    <a:lnTo>
                      <a:pt x="1166" y="876"/>
                    </a:lnTo>
                    <a:lnTo>
                      <a:pt x="1210" y="876"/>
                    </a:lnTo>
                    <a:lnTo>
                      <a:pt x="1210" y="920"/>
                    </a:lnTo>
                    <a:lnTo>
                      <a:pt x="1166" y="920"/>
                    </a:lnTo>
                    <a:close/>
                    <a:moveTo>
                      <a:pt x="1215" y="920"/>
                    </a:moveTo>
                    <a:lnTo>
                      <a:pt x="1215" y="876"/>
                    </a:lnTo>
                    <a:lnTo>
                      <a:pt x="1259" y="876"/>
                    </a:lnTo>
                    <a:lnTo>
                      <a:pt x="1259" y="920"/>
                    </a:lnTo>
                    <a:lnTo>
                      <a:pt x="1215" y="920"/>
                    </a:lnTo>
                    <a:close/>
                    <a:moveTo>
                      <a:pt x="1263" y="920"/>
                    </a:moveTo>
                    <a:lnTo>
                      <a:pt x="1263" y="876"/>
                    </a:lnTo>
                    <a:lnTo>
                      <a:pt x="1307" y="876"/>
                    </a:lnTo>
                    <a:lnTo>
                      <a:pt x="1307" y="920"/>
                    </a:lnTo>
                    <a:lnTo>
                      <a:pt x="1263" y="920"/>
                    </a:lnTo>
                    <a:close/>
                    <a:moveTo>
                      <a:pt x="1312" y="920"/>
                    </a:moveTo>
                    <a:lnTo>
                      <a:pt x="1312" y="876"/>
                    </a:lnTo>
                    <a:lnTo>
                      <a:pt x="1354" y="876"/>
                    </a:lnTo>
                    <a:lnTo>
                      <a:pt x="1354" y="920"/>
                    </a:lnTo>
                    <a:lnTo>
                      <a:pt x="1312" y="920"/>
                    </a:lnTo>
                    <a:close/>
                    <a:moveTo>
                      <a:pt x="1360" y="920"/>
                    </a:moveTo>
                    <a:lnTo>
                      <a:pt x="1360" y="876"/>
                    </a:lnTo>
                    <a:lnTo>
                      <a:pt x="1403" y="876"/>
                    </a:lnTo>
                    <a:lnTo>
                      <a:pt x="1403" y="920"/>
                    </a:lnTo>
                    <a:lnTo>
                      <a:pt x="1360" y="920"/>
                    </a:lnTo>
                    <a:close/>
                    <a:moveTo>
                      <a:pt x="1409" y="920"/>
                    </a:moveTo>
                    <a:lnTo>
                      <a:pt x="1409" y="876"/>
                    </a:lnTo>
                    <a:lnTo>
                      <a:pt x="1451" y="876"/>
                    </a:lnTo>
                    <a:lnTo>
                      <a:pt x="1451" y="920"/>
                    </a:lnTo>
                    <a:lnTo>
                      <a:pt x="1409" y="920"/>
                    </a:lnTo>
                    <a:close/>
                    <a:moveTo>
                      <a:pt x="1500" y="920"/>
                    </a:moveTo>
                    <a:lnTo>
                      <a:pt x="1457" y="920"/>
                    </a:lnTo>
                    <a:lnTo>
                      <a:pt x="1457" y="876"/>
                    </a:lnTo>
                    <a:lnTo>
                      <a:pt x="1500" y="876"/>
                    </a:lnTo>
                    <a:lnTo>
                      <a:pt x="1500" y="920"/>
                    </a:lnTo>
                    <a:close/>
                    <a:moveTo>
                      <a:pt x="1500" y="871"/>
                    </a:moveTo>
                    <a:lnTo>
                      <a:pt x="1457" y="871"/>
                    </a:lnTo>
                    <a:lnTo>
                      <a:pt x="1457" y="827"/>
                    </a:lnTo>
                    <a:lnTo>
                      <a:pt x="1500" y="827"/>
                    </a:lnTo>
                    <a:lnTo>
                      <a:pt x="1500" y="871"/>
                    </a:lnTo>
                    <a:close/>
                    <a:moveTo>
                      <a:pt x="1500" y="822"/>
                    </a:moveTo>
                    <a:lnTo>
                      <a:pt x="1457" y="822"/>
                    </a:lnTo>
                    <a:lnTo>
                      <a:pt x="1457" y="778"/>
                    </a:lnTo>
                    <a:lnTo>
                      <a:pt x="1500" y="778"/>
                    </a:lnTo>
                    <a:lnTo>
                      <a:pt x="1500" y="822"/>
                    </a:lnTo>
                    <a:close/>
                    <a:moveTo>
                      <a:pt x="1500" y="774"/>
                    </a:moveTo>
                    <a:lnTo>
                      <a:pt x="1457" y="774"/>
                    </a:lnTo>
                    <a:lnTo>
                      <a:pt x="1457" y="730"/>
                    </a:lnTo>
                    <a:lnTo>
                      <a:pt x="1500" y="730"/>
                    </a:lnTo>
                    <a:lnTo>
                      <a:pt x="1500" y="774"/>
                    </a:lnTo>
                    <a:close/>
                    <a:moveTo>
                      <a:pt x="1500" y="725"/>
                    </a:moveTo>
                    <a:lnTo>
                      <a:pt x="1457" y="725"/>
                    </a:lnTo>
                    <a:lnTo>
                      <a:pt x="1457" y="683"/>
                    </a:lnTo>
                    <a:lnTo>
                      <a:pt x="1500" y="683"/>
                    </a:lnTo>
                    <a:lnTo>
                      <a:pt x="1500" y="725"/>
                    </a:lnTo>
                    <a:close/>
                    <a:moveTo>
                      <a:pt x="1500" y="677"/>
                    </a:moveTo>
                    <a:lnTo>
                      <a:pt x="1457" y="677"/>
                    </a:lnTo>
                    <a:lnTo>
                      <a:pt x="1457" y="634"/>
                    </a:lnTo>
                    <a:lnTo>
                      <a:pt x="1500" y="634"/>
                    </a:lnTo>
                    <a:lnTo>
                      <a:pt x="1500" y="677"/>
                    </a:lnTo>
                    <a:close/>
                    <a:moveTo>
                      <a:pt x="1500" y="628"/>
                    </a:moveTo>
                    <a:lnTo>
                      <a:pt x="1457" y="628"/>
                    </a:lnTo>
                    <a:lnTo>
                      <a:pt x="1457" y="586"/>
                    </a:lnTo>
                    <a:lnTo>
                      <a:pt x="1500" y="586"/>
                    </a:lnTo>
                    <a:lnTo>
                      <a:pt x="1500" y="628"/>
                    </a:lnTo>
                    <a:close/>
                    <a:moveTo>
                      <a:pt x="1500" y="580"/>
                    </a:moveTo>
                    <a:lnTo>
                      <a:pt x="1457" y="580"/>
                    </a:lnTo>
                    <a:lnTo>
                      <a:pt x="1457" y="537"/>
                    </a:lnTo>
                    <a:lnTo>
                      <a:pt x="1500" y="537"/>
                    </a:lnTo>
                    <a:lnTo>
                      <a:pt x="1500" y="580"/>
                    </a:lnTo>
                    <a:close/>
                    <a:moveTo>
                      <a:pt x="1500" y="531"/>
                    </a:moveTo>
                    <a:lnTo>
                      <a:pt x="1457" y="531"/>
                    </a:lnTo>
                    <a:lnTo>
                      <a:pt x="1457" y="440"/>
                    </a:lnTo>
                    <a:lnTo>
                      <a:pt x="1500" y="440"/>
                    </a:lnTo>
                    <a:lnTo>
                      <a:pt x="1500" y="531"/>
                    </a:lnTo>
                    <a:close/>
                    <a:moveTo>
                      <a:pt x="1500" y="435"/>
                    </a:moveTo>
                    <a:lnTo>
                      <a:pt x="1457" y="435"/>
                    </a:lnTo>
                    <a:lnTo>
                      <a:pt x="1457" y="391"/>
                    </a:lnTo>
                    <a:lnTo>
                      <a:pt x="1500" y="391"/>
                    </a:lnTo>
                    <a:lnTo>
                      <a:pt x="1500" y="435"/>
                    </a:lnTo>
                    <a:close/>
                    <a:moveTo>
                      <a:pt x="1500" y="387"/>
                    </a:moveTo>
                    <a:lnTo>
                      <a:pt x="1457" y="387"/>
                    </a:lnTo>
                    <a:lnTo>
                      <a:pt x="1457" y="343"/>
                    </a:lnTo>
                    <a:lnTo>
                      <a:pt x="1500" y="343"/>
                    </a:lnTo>
                    <a:lnTo>
                      <a:pt x="1500" y="387"/>
                    </a:lnTo>
                    <a:close/>
                    <a:moveTo>
                      <a:pt x="1500" y="338"/>
                    </a:moveTo>
                    <a:lnTo>
                      <a:pt x="1457" y="338"/>
                    </a:lnTo>
                    <a:lnTo>
                      <a:pt x="1457" y="294"/>
                    </a:lnTo>
                    <a:lnTo>
                      <a:pt x="1500" y="294"/>
                    </a:lnTo>
                    <a:lnTo>
                      <a:pt x="1500" y="338"/>
                    </a:lnTo>
                    <a:close/>
                    <a:moveTo>
                      <a:pt x="1500" y="290"/>
                    </a:moveTo>
                    <a:lnTo>
                      <a:pt x="1457" y="290"/>
                    </a:lnTo>
                    <a:lnTo>
                      <a:pt x="1457" y="246"/>
                    </a:lnTo>
                    <a:lnTo>
                      <a:pt x="1500" y="246"/>
                    </a:lnTo>
                    <a:lnTo>
                      <a:pt x="1500" y="290"/>
                    </a:lnTo>
                    <a:close/>
                    <a:moveTo>
                      <a:pt x="1500" y="241"/>
                    </a:moveTo>
                    <a:lnTo>
                      <a:pt x="1457" y="241"/>
                    </a:lnTo>
                    <a:lnTo>
                      <a:pt x="1457" y="197"/>
                    </a:lnTo>
                    <a:lnTo>
                      <a:pt x="1500" y="197"/>
                    </a:lnTo>
                    <a:lnTo>
                      <a:pt x="1500" y="241"/>
                    </a:lnTo>
                    <a:close/>
                    <a:moveTo>
                      <a:pt x="1500" y="193"/>
                    </a:moveTo>
                    <a:lnTo>
                      <a:pt x="1457" y="193"/>
                    </a:lnTo>
                    <a:lnTo>
                      <a:pt x="1457" y="149"/>
                    </a:lnTo>
                    <a:lnTo>
                      <a:pt x="1500" y="149"/>
                    </a:lnTo>
                    <a:lnTo>
                      <a:pt x="1500" y="193"/>
                    </a:lnTo>
                    <a:close/>
                    <a:moveTo>
                      <a:pt x="1500" y="144"/>
                    </a:moveTo>
                    <a:lnTo>
                      <a:pt x="1457" y="144"/>
                    </a:lnTo>
                    <a:lnTo>
                      <a:pt x="1457" y="100"/>
                    </a:lnTo>
                    <a:lnTo>
                      <a:pt x="1500" y="100"/>
                    </a:lnTo>
                    <a:lnTo>
                      <a:pt x="1500" y="144"/>
                    </a:lnTo>
                    <a:close/>
                    <a:moveTo>
                      <a:pt x="1500" y="95"/>
                    </a:moveTo>
                    <a:lnTo>
                      <a:pt x="1457" y="95"/>
                    </a:lnTo>
                    <a:lnTo>
                      <a:pt x="1457" y="51"/>
                    </a:lnTo>
                    <a:lnTo>
                      <a:pt x="1500" y="51"/>
                    </a:lnTo>
                    <a:lnTo>
                      <a:pt x="1500" y="95"/>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799"/>
              <p:cNvSpPr>
                <a:spLocks/>
              </p:cNvSpPr>
              <p:nvPr/>
            </p:nvSpPr>
            <p:spPr bwMode="auto">
              <a:xfrm>
                <a:off x="754446" y="3408123"/>
                <a:ext cx="1415799" cy="886358"/>
              </a:xfrm>
              <a:custGeom>
                <a:avLst/>
                <a:gdLst>
                  <a:gd name="T0" fmla="*/ 1462 w 1551"/>
                  <a:gd name="T1" fmla="*/ 461 h 971"/>
                  <a:gd name="T2" fmla="*/ 1365 w 1551"/>
                  <a:gd name="T3" fmla="*/ 473 h 971"/>
                  <a:gd name="T4" fmla="*/ 1301 w 1551"/>
                  <a:gd name="T5" fmla="*/ 473 h 971"/>
                  <a:gd name="T6" fmla="*/ 1204 w 1551"/>
                  <a:gd name="T7" fmla="*/ 461 h 971"/>
                  <a:gd name="T8" fmla="*/ 1122 w 1551"/>
                  <a:gd name="T9" fmla="*/ 461 h 971"/>
                  <a:gd name="T10" fmla="*/ 1025 w 1551"/>
                  <a:gd name="T11" fmla="*/ 473 h 971"/>
                  <a:gd name="T12" fmla="*/ 963 w 1551"/>
                  <a:gd name="T13" fmla="*/ 473 h 971"/>
                  <a:gd name="T14" fmla="*/ 866 w 1551"/>
                  <a:gd name="T15" fmla="*/ 461 h 971"/>
                  <a:gd name="T16" fmla="*/ 789 w 1551"/>
                  <a:gd name="T17" fmla="*/ 444 h 971"/>
                  <a:gd name="T18" fmla="*/ 789 w 1551"/>
                  <a:gd name="T19" fmla="*/ 381 h 971"/>
                  <a:gd name="T20" fmla="*/ 801 w 1551"/>
                  <a:gd name="T21" fmla="*/ 284 h 971"/>
                  <a:gd name="T22" fmla="*/ 801 w 1551"/>
                  <a:gd name="T23" fmla="*/ 202 h 971"/>
                  <a:gd name="T24" fmla="*/ 789 w 1551"/>
                  <a:gd name="T25" fmla="*/ 105 h 971"/>
                  <a:gd name="T26" fmla="*/ 789 w 1551"/>
                  <a:gd name="T27" fmla="*/ 42 h 971"/>
                  <a:gd name="T28" fmla="*/ 764 w 1551"/>
                  <a:gd name="T29" fmla="*/ 91 h 971"/>
                  <a:gd name="T30" fmla="*/ 764 w 1551"/>
                  <a:gd name="T31" fmla="*/ 153 h 971"/>
                  <a:gd name="T32" fmla="*/ 752 w 1551"/>
                  <a:gd name="T33" fmla="*/ 250 h 971"/>
                  <a:gd name="T34" fmla="*/ 752 w 1551"/>
                  <a:gd name="T35" fmla="*/ 332 h 971"/>
                  <a:gd name="T36" fmla="*/ 764 w 1551"/>
                  <a:gd name="T37" fmla="*/ 429 h 971"/>
                  <a:gd name="T38" fmla="*/ 720 w 1551"/>
                  <a:gd name="T39" fmla="*/ 461 h 971"/>
                  <a:gd name="T40" fmla="*/ 637 w 1551"/>
                  <a:gd name="T41" fmla="*/ 461 h 971"/>
                  <a:gd name="T42" fmla="*/ 540 w 1551"/>
                  <a:gd name="T43" fmla="*/ 473 h 971"/>
                  <a:gd name="T44" fmla="*/ 478 w 1551"/>
                  <a:gd name="T45" fmla="*/ 473 h 971"/>
                  <a:gd name="T46" fmla="*/ 381 w 1551"/>
                  <a:gd name="T47" fmla="*/ 461 h 971"/>
                  <a:gd name="T48" fmla="*/ 299 w 1551"/>
                  <a:gd name="T49" fmla="*/ 461 h 971"/>
                  <a:gd name="T50" fmla="*/ 202 w 1551"/>
                  <a:gd name="T51" fmla="*/ 473 h 971"/>
                  <a:gd name="T52" fmla="*/ 138 w 1551"/>
                  <a:gd name="T53" fmla="*/ 473 h 971"/>
                  <a:gd name="T54" fmla="*/ 41 w 1551"/>
                  <a:gd name="T55" fmla="*/ 461 h 971"/>
                  <a:gd name="T56" fmla="*/ 56 w 1551"/>
                  <a:gd name="T57" fmla="*/ 498 h 971"/>
                  <a:gd name="T58" fmla="*/ 153 w 1551"/>
                  <a:gd name="T59" fmla="*/ 510 h 971"/>
                  <a:gd name="T60" fmla="*/ 235 w 1551"/>
                  <a:gd name="T61" fmla="*/ 510 h 971"/>
                  <a:gd name="T62" fmla="*/ 332 w 1551"/>
                  <a:gd name="T63" fmla="*/ 498 h 971"/>
                  <a:gd name="T64" fmla="*/ 396 w 1551"/>
                  <a:gd name="T65" fmla="*/ 498 h 971"/>
                  <a:gd name="T66" fmla="*/ 493 w 1551"/>
                  <a:gd name="T67" fmla="*/ 510 h 971"/>
                  <a:gd name="T68" fmla="*/ 575 w 1551"/>
                  <a:gd name="T69" fmla="*/ 510 h 971"/>
                  <a:gd name="T70" fmla="*/ 672 w 1551"/>
                  <a:gd name="T71" fmla="*/ 498 h 971"/>
                  <a:gd name="T72" fmla="*/ 734 w 1551"/>
                  <a:gd name="T73" fmla="*/ 498 h 971"/>
                  <a:gd name="T74" fmla="*/ 752 w 1551"/>
                  <a:gd name="T75" fmla="*/ 575 h 971"/>
                  <a:gd name="T76" fmla="*/ 764 w 1551"/>
                  <a:gd name="T77" fmla="*/ 672 h 971"/>
                  <a:gd name="T78" fmla="*/ 764 w 1551"/>
                  <a:gd name="T79" fmla="*/ 736 h 971"/>
                  <a:gd name="T80" fmla="*/ 752 w 1551"/>
                  <a:gd name="T81" fmla="*/ 833 h 971"/>
                  <a:gd name="T82" fmla="*/ 752 w 1551"/>
                  <a:gd name="T83" fmla="*/ 915 h 971"/>
                  <a:gd name="T84" fmla="*/ 801 w 1551"/>
                  <a:gd name="T85" fmla="*/ 915 h 971"/>
                  <a:gd name="T86" fmla="*/ 801 w 1551"/>
                  <a:gd name="T87" fmla="*/ 833 h 971"/>
                  <a:gd name="T88" fmla="*/ 789 w 1551"/>
                  <a:gd name="T89" fmla="*/ 736 h 971"/>
                  <a:gd name="T90" fmla="*/ 789 w 1551"/>
                  <a:gd name="T91" fmla="*/ 672 h 971"/>
                  <a:gd name="T92" fmla="*/ 801 w 1551"/>
                  <a:gd name="T93" fmla="*/ 575 h 971"/>
                  <a:gd name="T94" fmla="*/ 817 w 1551"/>
                  <a:gd name="T95" fmla="*/ 498 h 971"/>
                  <a:gd name="T96" fmla="*/ 880 w 1551"/>
                  <a:gd name="T97" fmla="*/ 498 h 971"/>
                  <a:gd name="T98" fmla="*/ 977 w 1551"/>
                  <a:gd name="T99" fmla="*/ 510 h 971"/>
                  <a:gd name="T100" fmla="*/ 1060 w 1551"/>
                  <a:gd name="T101" fmla="*/ 510 h 971"/>
                  <a:gd name="T102" fmla="*/ 1155 w 1551"/>
                  <a:gd name="T103" fmla="*/ 498 h 971"/>
                  <a:gd name="T104" fmla="*/ 1219 w 1551"/>
                  <a:gd name="T105" fmla="*/ 498 h 971"/>
                  <a:gd name="T106" fmla="*/ 1316 w 1551"/>
                  <a:gd name="T107" fmla="*/ 510 h 971"/>
                  <a:gd name="T108" fmla="*/ 1398 w 1551"/>
                  <a:gd name="T109" fmla="*/ 510 h 971"/>
                  <a:gd name="T110" fmla="*/ 1495 w 1551"/>
                  <a:gd name="T111" fmla="*/ 49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1" h="971">
                    <a:moveTo>
                      <a:pt x="1551" y="473"/>
                    </a:moveTo>
                    <a:lnTo>
                      <a:pt x="1510" y="473"/>
                    </a:lnTo>
                    <a:lnTo>
                      <a:pt x="1510" y="461"/>
                    </a:lnTo>
                    <a:lnTo>
                      <a:pt x="1495" y="461"/>
                    </a:lnTo>
                    <a:lnTo>
                      <a:pt x="1495" y="473"/>
                    </a:lnTo>
                    <a:lnTo>
                      <a:pt x="1462" y="473"/>
                    </a:lnTo>
                    <a:lnTo>
                      <a:pt x="1462" y="461"/>
                    </a:lnTo>
                    <a:lnTo>
                      <a:pt x="1447" y="461"/>
                    </a:lnTo>
                    <a:lnTo>
                      <a:pt x="1447" y="473"/>
                    </a:lnTo>
                    <a:lnTo>
                      <a:pt x="1413" y="473"/>
                    </a:lnTo>
                    <a:lnTo>
                      <a:pt x="1413" y="461"/>
                    </a:lnTo>
                    <a:lnTo>
                      <a:pt x="1398" y="461"/>
                    </a:lnTo>
                    <a:lnTo>
                      <a:pt x="1398" y="473"/>
                    </a:lnTo>
                    <a:lnTo>
                      <a:pt x="1365" y="473"/>
                    </a:lnTo>
                    <a:lnTo>
                      <a:pt x="1365" y="461"/>
                    </a:lnTo>
                    <a:lnTo>
                      <a:pt x="1350" y="461"/>
                    </a:lnTo>
                    <a:lnTo>
                      <a:pt x="1350" y="473"/>
                    </a:lnTo>
                    <a:lnTo>
                      <a:pt x="1316" y="473"/>
                    </a:lnTo>
                    <a:lnTo>
                      <a:pt x="1316" y="461"/>
                    </a:lnTo>
                    <a:lnTo>
                      <a:pt x="1301" y="461"/>
                    </a:lnTo>
                    <a:lnTo>
                      <a:pt x="1301" y="473"/>
                    </a:lnTo>
                    <a:lnTo>
                      <a:pt x="1268" y="473"/>
                    </a:lnTo>
                    <a:lnTo>
                      <a:pt x="1268" y="461"/>
                    </a:lnTo>
                    <a:lnTo>
                      <a:pt x="1253" y="461"/>
                    </a:lnTo>
                    <a:lnTo>
                      <a:pt x="1253" y="473"/>
                    </a:lnTo>
                    <a:lnTo>
                      <a:pt x="1219" y="473"/>
                    </a:lnTo>
                    <a:lnTo>
                      <a:pt x="1219" y="461"/>
                    </a:lnTo>
                    <a:lnTo>
                      <a:pt x="1204" y="461"/>
                    </a:lnTo>
                    <a:lnTo>
                      <a:pt x="1204" y="473"/>
                    </a:lnTo>
                    <a:lnTo>
                      <a:pt x="1171" y="473"/>
                    </a:lnTo>
                    <a:lnTo>
                      <a:pt x="1171" y="461"/>
                    </a:lnTo>
                    <a:lnTo>
                      <a:pt x="1155" y="461"/>
                    </a:lnTo>
                    <a:lnTo>
                      <a:pt x="1155" y="473"/>
                    </a:lnTo>
                    <a:lnTo>
                      <a:pt x="1122" y="473"/>
                    </a:lnTo>
                    <a:lnTo>
                      <a:pt x="1122" y="461"/>
                    </a:lnTo>
                    <a:lnTo>
                      <a:pt x="1107" y="461"/>
                    </a:lnTo>
                    <a:lnTo>
                      <a:pt x="1107" y="473"/>
                    </a:lnTo>
                    <a:lnTo>
                      <a:pt x="1074" y="473"/>
                    </a:lnTo>
                    <a:lnTo>
                      <a:pt x="1074" y="461"/>
                    </a:lnTo>
                    <a:lnTo>
                      <a:pt x="1060" y="461"/>
                    </a:lnTo>
                    <a:lnTo>
                      <a:pt x="1060" y="473"/>
                    </a:lnTo>
                    <a:lnTo>
                      <a:pt x="1025" y="473"/>
                    </a:lnTo>
                    <a:lnTo>
                      <a:pt x="1025" y="461"/>
                    </a:lnTo>
                    <a:lnTo>
                      <a:pt x="1011" y="461"/>
                    </a:lnTo>
                    <a:lnTo>
                      <a:pt x="1011" y="473"/>
                    </a:lnTo>
                    <a:lnTo>
                      <a:pt x="977" y="473"/>
                    </a:lnTo>
                    <a:lnTo>
                      <a:pt x="977" y="461"/>
                    </a:lnTo>
                    <a:lnTo>
                      <a:pt x="963" y="461"/>
                    </a:lnTo>
                    <a:lnTo>
                      <a:pt x="963" y="473"/>
                    </a:lnTo>
                    <a:lnTo>
                      <a:pt x="928" y="473"/>
                    </a:lnTo>
                    <a:lnTo>
                      <a:pt x="928" y="461"/>
                    </a:lnTo>
                    <a:lnTo>
                      <a:pt x="914" y="461"/>
                    </a:lnTo>
                    <a:lnTo>
                      <a:pt x="914" y="473"/>
                    </a:lnTo>
                    <a:lnTo>
                      <a:pt x="880" y="473"/>
                    </a:lnTo>
                    <a:lnTo>
                      <a:pt x="880" y="461"/>
                    </a:lnTo>
                    <a:lnTo>
                      <a:pt x="866" y="461"/>
                    </a:lnTo>
                    <a:lnTo>
                      <a:pt x="866" y="473"/>
                    </a:lnTo>
                    <a:lnTo>
                      <a:pt x="831" y="473"/>
                    </a:lnTo>
                    <a:lnTo>
                      <a:pt x="831" y="461"/>
                    </a:lnTo>
                    <a:lnTo>
                      <a:pt x="817" y="461"/>
                    </a:lnTo>
                    <a:lnTo>
                      <a:pt x="817" y="473"/>
                    </a:lnTo>
                    <a:lnTo>
                      <a:pt x="789" y="473"/>
                    </a:lnTo>
                    <a:lnTo>
                      <a:pt x="789" y="444"/>
                    </a:lnTo>
                    <a:lnTo>
                      <a:pt x="801" y="444"/>
                    </a:lnTo>
                    <a:lnTo>
                      <a:pt x="801" y="429"/>
                    </a:lnTo>
                    <a:lnTo>
                      <a:pt x="789" y="429"/>
                    </a:lnTo>
                    <a:lnTo>
                      <a:pt x="789" y="396"/>
                    </a:lnTo>
                    <a:lnTo>
                      <a:pt x="801" y="396"/>
                    </a:lnTo>
                    <a:lnTo>
                      <a:pt x="801" y="381"/>
                    </a:lnTo>
                    <a:lnTo>
                      <a:pt x="789" y="381"/>
                    </a:lnTo>
                    <a:lnTo>
                      <a:pt x="789" y="347"/>
                    </a:lnTo>
                    <a:lnTo>
                      <a:pt x="801" y="347"/>
                    </a:lnTo>
                    <a:lnTo>
                      <a:pt x="801" y="332"/>
                    </a:lnTo>
                    <a:lnTo>
                      <a:pt x="789" y="332"/>
                    </a:lnTo>
                    <a:lnTo>
                      <a:pt x="789" y="299"/>
                    </a:lnTo>
                    <a:lnTo>
                      <a:pt x="801" y="299"/>
                    </a:lnTo>
                    <a:lnTo>
                      <a:pt x="801" y="284"/>
                    </a:lnTo>
                    <a:lnTo>
                      <a:pt x="789" y="284"/>
                    </a:lnTo>
                    <a:lnTo>
                      <a:pt x="789" y="250"/>
                    </a:lnTo>
                    <a:lnTo>
                      <a:pt x="801" y="250"/>
                    </a:lnTo>
                    <a:lnTo>
                      <a:pt x="801" y="235"/>
                    </a:lnTo>
                    <a:lnTo>
                      <a:pt x="789" y="235"/>
                    </a:lnTo>
                    <a:lnTo>
                      <a:pt x="789" y="202"/>
                    </a:lnTo>
                    <a:lnTo>
                      <a:pt x="801" y="202"/>
                    </a:lnTo>
                    <a:lnTo>
                      <a:pt x="801" y="186"/>
                    </a:lnTo>
                    <a:lnTo>
                      <a:pt x="789" y="186"/>
                    </a:lnTo>
                    <a:lnTo>
                      <a:pt x="789" y="153"/>
                    </a:lnTo>
                    <a:lnTo>
                      <a:pt x="801" y="153"/>
                    </a:lnTo>
                    <a:lnTo>
                      <a:pt x="801" y="139"/>
                    </a:lnTo>
                    <a:lnTo>
                      <a:pt x="789" y="139"/>
                    </a:lnTo>
                    <a:lnTo>
                      <a:pt x="789" y="105"/>
                    </a:lnTo>
                    <a:lnTo>
                      <a:pt x="801" y="105"/>
                    </a:lnTo>
                    <a:lnTo>
                      <a:pt x="801" y="91"/>
                    </a:lnTo>
                    <a:lnTo>
                      <a:pt x="789" y="91"/>
                    </a:lnTo>
                    <a:lnTo>
                      <a:pt x="789" y="56"/>
                    </a:lnTo>
                    <a:lnTo>
                      <a:pt x="801" y="56"/>
                    </a:lnTo>
                    <a:lnTo>
                      <a:pt x="801" y="42"/>
                    </a:lnTo>
                    <a:lnTo>
                      <a:pt x="789" y="42"/>
                    </a:lnTo>
                    <a:lnTo>
                      <a:pt x="789" y="0"/>
                    </a:lnTo>
                    <a:lnTo>
                      <a:pt x="764" y="0"/>
                    </a:lnTo>
                    <a:lnTo>
                      <a:pt x="764" y="42"/>
                    </a:lnTo>
                    <a:lnTo>
                      <a:pt x="752" y="42"/>
                    </a:lnTo>
                    <a:lnTo>
                      <a:pt x="752" y="56"/>
                    </a:lnTo>
                    <a:lnTo>
                      <a:pt x="764" y="56"/>
                    </a:lnTo>
                    <a:lnTo>
                      <a:pt x="764" y="91"/>
                    </a:lnTo>
                    <a:lnTo>
                      <a:pt x="752" y="91"/>
                    </a:lnTo>
                    <a:lnTo>
                      <a:pt x="752" y="105"/>
                    </a:lnTo>
                    <a:lnTo>
                      <a:pt x="764" y="105"/>
                    </a:lnTo>
                    <a:lnTo>
                      <a:pt x="764" y="139"/>
                    </a:lnTo>
                    <a:lnTo>
                      <a:pt x="752" y="139"/>
                    </a:lnTo>
                    <a:lnTo>
                      <a:pt x="752" y="153"/>
                    </a:lnTo>
                    <a:lnTo>
                      <a:pt x="764" y="153"/>
                    </a:lnTo>
                    <a:lnTo>
                      <a:pt x="764" y="186"/>
                    </a:lnTo>
                    <a:lnTo>
                      <a:pt x="752" y="186"/>
                    </a:lnTo>
                    <a:lnTo>
                      <a:pt x="752" y="202"/>
                    </a:lnTo>
                    <a:lnTo>
                      <a:pt x="764" y="202"/>
                    </a:lnTo>
                    <a:lnTo>
                      <a:pt x="764" y="235"/>
                    </a:lnTo>
                    <a:lnTo>
                      <a:pt x="752" y="235"/>
                    </a:lnTo>
                    <a:lnTo>
                      <a:pt x="752" y="250"/>
                    </a:lnTo>
                    <a:lnTo>
                      <a:pt x="764" y="250"/>
                    </a:lnTo>
                    <a:lnTo>
                      <a:pt x="764" y="284"/>
                    </a:lnTo>
                    <a:lnTo>
                      <a:pt x="752" y="284"/>
                    </a:lnTo>
                    <a:lnTo>
                      <a:pt x="752" y="299"/>
                    </a:lnTo>
                    <a:lnTo>
                      <a:pt x="764" y="299"/>
                    </a:lnTo>
                    <a:lnTo>
                      <a:pt x="764" y="332"/>
                    </a:lnTo>
                    <a:lnTo>
                      <a:pt x="752" y="332"/>
                    </a:lnTo>
                    <a:lnTo>
                      <a:pt x="752" y="347"/>
                    </a:lnTo>
                    <a:lnTo>
                      <a:pt x="764" y="347"/>
                    </a:lnTo>
                    <a:lnTo>
                      <a:pt x="764" y="381"/>
                    </a:lnTo>
                    <a:lnTo>
                      <a:pt x="752" y="381"/>
                    </a:lnTo>
                    <a:lnTo>
                      <a:pt x="752" y="396"/>
                    </a:lnTo>
                    <a:lnTo>
                      <a:pt x="764" y="396"/>
                    </a:lnTo>
                    <a:lnTo>
                      <a:pt x="764" y="429"/>
                    </a:lnTo>
                    <a:lnTo>
                      <a:pt x="752" y="429"/>
                    </a:lnTo>
                    <a:lnTo>
                      <a:pt x="752" y="444"/>
                    </a:lnTo>
                    <a:lnTo>
                      <a:pt x="764" y="444"/>
                    </a:lnTo>
                    <a:lnTo>
                      <a:pt x="764" y="473"/>
                    </a:lnTo>
                    <a:lnTo>
                      <a:pt x="734" y="473"/>
                    </a:lnTo>
                    <a:lnTo>
                      <a:pt x="734" y="461"/>
                    </a:lnTo>
                    <a:lnTo>
                      <a:pt x="720" y="461"/>
                    </a:lnTo>
                    <a:lnTo>
                      <a:pt x="720" y="473"/>
                    </a:lnTo>
                    <a:lnTo>
                      <a:pt x="685" y="473"/>
                    </a:lnTo>
                    <a:lnTo>
                      <a:pt x="685" y="461"/>
                    </a:lnTo>
                    <a:lnTo>
                      <a:pt x="672" y="461"/>
                    </a:lnTo>
                    <a:lnTo>
                      <a:pt x="672" y="473"/>
                    </a:lnTo>
                    <a:lnTo>
                      <a:pt x="637" y="473"/>
                    </a:lnTo>
                    <a:lnTo>
                      <a:pt x="637" y="461"/>
                    </a:lnTo>
                    <a:lnTo>
                      <a:pt x="623" y="461"/>
                    </a:lnTo>
                    <a:lnTo>
                      <a:pt x="623" y="473"/>
                    </a:lnTo>
                    <a:lnTo>
                      <a:pt x="588" y="473"/>
                    </a:lnTo>
                    <a:lnTo>
                      <a:pt x="588" y="461"/>
                    </a:lnTo>
                    <a:lnTo>
                      <a:pt x="575" y="461"/>
                    </a:lnTo>
                    <a:lnTo>
                      <a:pt x="575" y="473"/>
                    </a:lnTo>
                    <a:lnTo>
                      <a:pt x="540" y="473"/>
                    </a:lnTo>
                    <a:lnTo>
                      <a:pt x="540" y="461"/>
                    </a:lnTo>
                    <a:lnTo>
                      <a:pt x="526" y="461"/>
                    </a:lnTo>
                    <a:lnTo>
                      <a:pt x="526" y="473"/>
                    </a:lnTo>
                    <a:lnTo>
                      <a:pt x="493" y="473"/>
                    </a:lnTo>
                    <a:lnTo>
                      <a:pt x="493" y="461"/>
                    </a:lnTo>
                    <a:lnTo>
                      <a:pt x="478" y="461"/>
                    </a:lnTo>
                    <a:lnTo>
                      <a:pt x="478" y="473"/>
                    </a:lnTo>
                    <a:lnTo>
                      <a:pt x="444" y="473"/>
                    </a:lnTo>
                    <a:lnTo>
                      <a:pt x="444" y="461"/>
                    </a:lnTo>
                    <a:lnTo>
                      <a:pt x="429" y="461"/>
                    </a:lnTo>
                    <a:lnTo>
                      <a:pt x="429" y="473"/>
                    </a:lnTo>
                    <a:lnTo>
                      <a:pt x="396" y="473"/>
                    </a:lnTo>
                    <a:lnTo>
                      <a:pt x="396" y="461"/>
                    </a:lnTo>
                    <a:lnTo>
                      <a:pt x="381" y="461"/>
                    </a:lnTo>
                    <a:lnTo>
                      <a:pt x="381" y="473"/>
                    </a:lnTo>
                    <a:lnTo>
                      <a:pt x="347" y="473"/>
                    </a:lnTo>
                    <a:lnTo>
                      <a:pt x="347" y="461"/>
                    </a:lnTo>
                    <a:lnTo>
                      <a:pt x="332" y="461"/>
                    </a:lnTo>
                    <a:lnTo>
                      <a:pt x="332" y="473"/>
                    </a:lnTo>
                    <a:lnTo>
                      <a:pt x="299" y="473"/>
                    </a:lnTo>
                    <a:lnTo>
                      <a:pt x="299" y="461"/>
                    </a:lnTo>
                    <a:lnTo>
                      <a:pt x="284" y="461"/>
                    </a:lnTo>
                    <a:lnTo>
                      <a:pt x="284" y="473"/>
                    </a:lnTo>
                    <a:lnTo>
                      <a:pt x="250" y="473"/>
                    </a:lnTo>
                    <a:lnTo>
                      <a:pt x="250" y="461"/>
                    </a:lnTo>
                    <a:lnTo>
                      <a:pt x="235" y="461"/>
                    </a:lnTo>
                    <a:lnTo>
                      <a:pt x="235" y="473"/>
                    </a:lnTo>
                    <a:lnTo>
                      <a:pt x="202" y="473"/>
                    </a:lnTo>
                    <a:lnTo>
                      <a:pt x="202" y="461"/>
                    </a:lnTo>
                    <a:lnTo>
                      <a:pt x="187" y="461"/>
                    </a:lnTo>
                    <a:lnTo>
                      <a:pt x="187" y="473"/>
                    </a:lnTo>
                    <a:lnTo>
                      <a:pt x="153" y="473"/>
                    </a:lnTo>
                    <a:lnTo>
                      <a:pt x="153" y="461"/>
                    </a:lnTo>
                    <a:lnTo>
                      <a:pt x="138" y="461"/>
                    </a:lnTo>
                    <a:lnTo>
                      <a:pt x="138" y="473"/>
                    </a:lnTo>
                    <a:lnTo>
                      <a:pt x="105" y="473"/>
                    </a:lnTo>
                    <a:lnTo>
                      <a:pt x="105" y="461"/>
                    </a:lnTo>
                    <a:lnTo>
                      <a:pt x="90" y="461"/>
                    </a:lnTo>
                    <a:lnTo>
                      <a:pt x="90" y="473"/>
                    </a:lnTo>
                    <a:lnTo>
                      <a:pt x="56" y="473"/>
                    </a:lnTo>
                    <a:lnTo>
                      <a:pt x="56" y="461"/>
                    </a:lnTo>
                    <a:lnTo>
                      <a:pt x="41" y="461"/>
                    </a:lnTo>
                    <a:lnTo>
                      <a:pt x="41" y="473"/>
                    </a:lnTo>
                    <a:lnTo>
                      <a:pt x="0" y="473"/>
                    </a:lnTo>
                    <a:lnTo>
                      <a:pt x="0" y="498"/>
                    </a:lnTo>
                    <a:lnTo>
                      <a:pt x="41" y="498"/>
                    </a:lnTo>
                    <a:lnTo>
                      <a:pt x="41" y="510"/>
                    </a:lnTo>
                    <a:lnTo>
                      <a:pt x="56" y="510"/>
                    </a:lnTo>
                    <a:lnTo>
                      <a:pt x="56" y="498"/>
                    </a:lnTo>
                    <a:lnTo>
                      <a:pt x="90" y="498"/>
                    </a:lnTo>
                    <a:lnTo>
                      <a:pt x="90" y="510"/>
                    </a:lnTo>
                    <a:lnTo>
                      <a:pt x="105" y="510"/>
                    </a:lnTo>
                    <a:lnTo>
                      <a:pt x="105" y="498"/>
                    </a:lnTo>
                    <a:lnTo>
                      <a:pt x="138" y="498"/>
                    </a:lnTo>
                    <a:lnTo>
                      <a:pt x="138" y="510"/>
                    </a:lnTo>
                    <a:lnTo>
                      <a:pt x="153" y="510"/>
                    </a:lnTo>
                    <a:lnTo>
                      <a:pt x="153" y="498"/>
                    </a:lnTo>
                    <a:lnTo>
                      <a:pt x="187" y="498"/>
                    </a:lnTo>
                    <a:lnTo>
                      <a:pt x="187" y="510"/>
                    </a:lnTo>
                    <a:lnTo>
                      <a:pt x="202" y="510"/>
                    </a:lnTo>
                    <a:lnTo>
                      <a:pt x="202" y="498"/>
                    </a:lnTo>
                    <a:lnTo>
                      <a:pt x="235" y="498"/>
                    </a:lnTo>
                    <a:lnTo>
                      <a:pt x="235" y="510"/>
                    </a:lnTo>
                    <a:lnTo>
                      <a:pt x="250" y="510"/>
                    </a:lnTo>
                    <a:lnTo>
                      <a:pt x="250" y="498"/>
                    </a:lnTo>
                    <a:lnTo>
                      <a:pt x="284" y="498"/>
                    </a:lnTo>
                    <a:lnTo>
                      <a:pt x="284" y="510"/>
                    </a:lnTo>
                    <a:lnTo>
                      <a:pt x="299" y="510"/>
                    </a:lnTo>
                    <a:lnTo>
                      <a:pt x="299" y="498"/>
                    </a:lnTo>
                    <a:lnTo>
                      <a:pt x="332" y="498"/>
                    </a:lnTo>
                    <a:lnTo>
                      <a:pt x="332" y="510"/>
                    </a:lnTo>
                    <a:lnTo>
                      <a:pt x="347" y="510"/>
                    </a:lnTo>
                    <a:lnTo>
                      <a:pt x="347" y="498"/>
                    </a:lnTo>
                    <a:lnTo>
                      <a:pt x="381" y="498"/>
                    </a:lnTo>
                    <a:lnTo>
                      <a:pt x="381" y="510"/>
                    </a:lnTo>
                    <a:lnTo>
                      <a:pt x="396" y="510"/>
                    </a:lnTo>
                    <a:lnTo>
                      <a:pt x="396" y="498"/>
                    </a:lnTo>
                    <a:lnTo>
                      <a:pt x="429" y="498"/>
                    </a:lnTo>
                    <a:lnTo>
                      <a:pt x="429" y="510"/>
                    </a:lnTo>
                    <a:lnTo>
                      <a:pt x="444" y="510"/>
                    </a:lnTo>
                    <a:lnTo>
                      <a:pt x="444" y="498"/>
                    </a:lnTo>
                    <a:lnTo>
                      <a:pt x="478" y="498"/>
                    </a:lnTo>
                    <a:lnTo>
                      <a:pt x="478" y="510"/>
                    </a:lnTo>
                    <a:lnTo>
                      <a:pt x="493" y="510"/>
                    </a:lnTo>
                    <a:lnTo>
                      <a:pt x="493" y="498"/>
                    </a:lnTo>
                    <a:lnTo>
                      <a:pt x="526" y="498"/>
                    </a:lnTo>
                    <a:lnTo>
                      <a:pt x="526" y="510"/>
                    </a:lnTo>
                    <a:lnTo>
                      <a:pt x="540" y="510"/>
                    </a:lnTo>
                    <a:lnTo>
                      <a:pt x="540" y="498"/>
                    </a:lnTo>
                    <a:lnTo>
                      <a:pt x="575" y="498"/>
                    </a:lnTo>
                    <a:lnTo>
                      <a:pt x="575" y="510"/>
                    </a:lnTo>
                    <a:lnTo>
                      <a:pt x="588" y="510"/>
                    </a:lnTo>
                    <a:lnTo>
                      <a:pt x="588" y="498"/>
                    </a:lnTo>
                    <a:lnTo>
                      <a:pt x="623" y="498"/>
                    </a:lnTo>
                    <a:lnTo>
                      <a:pt x="623" y="510"/>
                    </a:lnTo>
                    <a:lnTo>
                      <a:pt x="637" y="510"/>
                    </a:lnTo>
                    <a:lnTo>
                      <a:pt x="637" y="498"/>
                    </a:lnTo>
                    <a:lnTo>
                      <a:pt x="672" y="498"/>
                    </a:lnTo>
                    <a:lnTo>
                      <a:pt x="672" y="510"/>
                    </a:lnTo>
                    <a:lnTo>
                      <a:pt x="685" y="510"/>
                    </a:lnTo>
                    <a:lnTo>
                      <a:pt x="685" y="498"/>
                    </a:lnTo>
                    <a:lnTo>
                      <a:pt x="720" y="498"/>
                    </a:lnTo>
                    <a:lnTo>
                      <a:pt x="720" y="510"/>
                    </a:lnTo>
                    <a:lnTo>
                      <a:pt x="734" y="510"/>
                    </a:lnTo>
                    <a:lnTo>
                      <a:pt x="734" y="498"/>
                    </a:lnTo>
                    <a:lnTo>
                      <a:pt x="764" y="498"/>
                    </a:lnTo>
                    <a:lnTo>
                      <a:pt x="764" y="526"/>
                    </a:lnTo>
                    <a:lnTo>
                      <a:pt x="752" y="526"/>
                    </a:lnTo>
                    <a:lnTo>
                      <a:pt x="752" y="542"/>
                    </a:lnTo>
                    <a:lnTo>
                      <a:pt x="764" y="542"/>
                    </a:lnTo>
                    <a:lnTo>
                      <a:pt x="764" y="575"/>
                    </a:lnTo>
                    <a:lnTo>
                      <a:pt x="752" y="575"/>
                    </a:lnTo>
                    <a:lnTo>
                      <a:pt x="752" y="590"/>
                    </a:lnTo>
                    <a:lnTo>
                      <a:pt x="764" y="590"/>
                    </a:lnTo>
                    <a:lnTo>
                      <a:pt x="764" y="624"/>
                    </a:lnTo>
                    <a:lnTo>
                      <a:pt x="752" y="624"/>
                    </a:lnTo>
                    <a:lnTo>
                      <a:pt x="752" y="639"/>
                    </a:lnTo>
                    <a:lnTo>
                      <a:pt x="764" y="639"/>
                    </a:lnTo>
                    <a:lnTo>
                      <a:pt x="764" y="672"/>
                    </a:lnTo>
                    <a:lnTo>
                      <a:pt x="752" y="672"/>
                    </a:lnTo>
                    <a:lnTo>
                      <a:pt x="752" y="687"/>
                    </a:lnTo>
                    <a:lnTo>
                      <a:pt x="764" y="687"/>
                    </a:lnTo>
                    <a:lnTo>
                      <a:pt x="764" y="721"/>
                    </a:lnTo>
                    <a:lnTo>
                      <a:pt x="752" y="721"/>
                    </a:lnTo>
                    <a:lnTo>
                      <a:pt x="752" y="736"/>
                    </a:lnTo>
                    <a:lnTo>
                      <a:pt x="764" y="736"/>
                    </a:lnTo>
                    <a:lnTo>
                      <a:pt x="764" y="769"/>
                    </a:lnTo>
                    <a:lnTo>
                      <a:pt x="752" y="769"/>
                    </a:lnTo>
                    <a:lnTo>
                      <a:pt x="752" y="784"/>
                    </a:lnTo>
                    <a:lnTo>
                      <a:pt x="764" y="784"/>
                    </a:lnTo>
                    <a:lnTo>
                      <a:pt x="764" y="818"/>
                    </a:lnTo>
                    <a:lnTo>
                      <a:pt x="752" y="818"/>
                    </a:lnTo>
                    <a:lnTo>
                      <a:pt x="752" y="833"/>
                    </a:lnTo>
                    <a:lnTo>
                      <a:pt x="764" y="833"/>
                    </a:lnTo>
                    <a:lnTo>
                      <a:pt x="764" y="866"/>
                    </a:lnTo>
                    <a:lnTo>
                      <a:pt x="752" y="866"/>
                    </a:lnTo>
                    <a:lnTo>
                      <a:pt x="752" y="882"/>
                    </a:lnTo>
                    <a:lnTo>
                      <a:pt x="764" y="882"/>
                    </a:lnTo>
                    <a:lnTo>
                      <a:pt x="764" y="915"/>
                    </a:lnTo>
                    <a:lnTo>
                      <a:pt x="752" y="915"/>
                    </a:lnTo>
                    <a:lnTo>
                      <a:pt x="752" y="930"/>
                    </a:lnTo>
                    <a:lnTo>
                      <a:pt x="764" y="930"/>
                    </a:lnTo>
                    <a:lnTo>
                      <a:pt x="764" y="971"/>
                    </a:lnTo>
                    <a:lnTo>
                      <a:pt x="789" y="971"/>
                    </a:lnTo>
                    <a:lnTo>
                      <a:pt x="789" y="930"/>
                    </a:lnTo>
                    <a:lnTo>
                      <a:pt x="801" y="930"/>
                    </a:lnTo>
                    <a:lnTo>
                      <a:pt x="801" y="915"/>
                    </a:lnTo>
                    <a:lnTo>
                      <a:pt x="789" y="915"/>
                    </a:lnTo>
                    <a:lnTo>
                      <a:pt x="789" y="882"/>
                    </a:lnTo>
                    <a:lnTo>
                      <a:pt x="801" y="882"/>
                    </a:lnTo>
                    <a:lnTo>
                      <a:pt x="801" y="866"/>
                    </a:lnTo>
                    <a:lnTo>
                      <a:pt x="789" y="866"/>
                    </a:lnTo>
                    <a:lnTo>
                      <a:pt x="789" y="833"/>
                    </a:lnTo>
                    <a:lnTo>
                      <a:pt x="801" y="833"/>
                    </a:lnTo>
                    <a:lnTo>
                      <a:pt x="801" y="818"/>
                    </a:lnTo>
                    <a:lnTo>
                      <a:pt x="789" y="818"/>
                    </a:lnTo>
                    <a:lnTo>
                      <a:pt x="789" y="784"/>
                    </a:lnTo>
                    <a:lnTo>
                      <a:pt x="801" y="784"/>
                    </a:lnTo>
                    <a:lnTo>
                      <a:pt x="801" y="769"/>
                    </a:lnTo>
                    <a:lnTo>
                      <a:pt x="789" y="769"/>
                    </a:lnTo>
                    <a:lnTo>
                      <a:pt x="789" y="736"/>
                    </a:lnTo>
                    <a:lnTo>
                      <a:pt x="801" y="736"/>
                    </a:lnTo>
                    <a:lnTo>
                      <a:pt x="801" y="721"/>
                    </a:lnTo>
                    <a:lnTo>
                      <a:pt x="789" y="721"/>
                    </a:lnTo>
                    <a:lnTo>
                      <a:pt x="789" y="687"/>
                    </a:lnTo>
                    <a:lnTo>
                      <a:pt x="801" y="687"/>
                    </a:lnTo>
                    <a:lnTo>
                      <a:pt x="801" y="672"/>
                    </a:lnTo>
                    <a:lnTo>
                      <a:pt x="789" y="672"/>
                    </a:lnTo>
                    <a:lnTo>
                      <a:pt x="789" y="639"/>
                    </a:lnTo>
                    <a:lnTo>
                      <a:pt x="801" y="639"/>
                    </a:lnTo>
                    <a:lnTo>
                      <a:pt x="801" y="624"/>
                    </a:lnTo>
                    <a:lnTo>
                      <a:pt x="789" y="624"/>
                    </a:lnTo>
                    <a:lnTo>
                      <a:pt x="789" y="590"/>
                    </a:lnTo>
                    <a:lnTo>
                      <a:pt x="801" y="590"/>
                    </a:lnTo>
                    <a:lnTo>
                      <a:pt x="801" y="575"/>
                    </a:lnTo>
                    <a:lnTo>
                      <a:pt x="789" y="575"/>
                    </a:lnTo>
                    <a:lnTo>
                      <a:pt x="789" y="542"/>
                    </a:lnTo>
                    <a:lnTo>
                      <a:pt x="801" y="542"/>
                    </a:lnTo>
                    <a:lnTo>
                      <a:pt x="801" y="526"/>
                    </a:lnTo>
                    <a:lnTo>
                      <a:pt x="789" y="526"/>
                    </a:lnTo>
                    <a:lnTo>
                      <a:pt x="789" y="498"/>
                    </a:lnTo>
                    <a:lnTo>
                      <a:pt x="817" y="498"/>
                    </a:lnTo>
                    <a:lnTo>
                      <a:pt x="817" y="510"/>
                    </a:lnTo>
                    <a:lnTo>
                      <a:pt x="831" y="510"/>
                    </a:lnTo>
                    <a:lnTo>
                      <a:pt x="831" y="498"/>
                    </a:lnTo>
                    <a:lnTo>
                      <a:pt x="866" y="498"/>
                    </a:lnTo>
                    <a:lnTo>
                      <a:pt x="866" y="510"/>
                    </a:lnTo>
                    <a:lnTo>
                      <a:pt x="880" y="510"/>
                    </a:lnTo>
                    <a:lnTo>
                      <a:pt x="880" y="498"/>
                    </a:lnTo>
                    <a:lnTo>
                      <a:pt x="914" y="498"/>
                    </a:lnTo>
                    <a:lnTo>
                      <a:pt x="914" y="510"/>
                    </a:lnTo>
                    <a:lnTo>
                      <a:pt x="928" y="510"/>
                    </a:lnTo>
                    <a:lnTo>
                      <a:pt x="928" y="498"/>
                    </a:lnTo>
                    <a:lnTo>
                      <a:pt x="963" y="498"/>
                    </a:lnTo>
                    <a:lnTo>
                      <a:pt x="963" y="510"/>
                    </a:lnTo>
                    <a:lnTo>
                      <a:pt x="977" y="510"/>
                    </a:lnTo>
                    <a:lnTo>
                      <a:pt x="977" y="498"/>
                    </a:lnTo>
                    <a:lnTo>
                      <a:pt x="1011" y="498"/>
                    </a:lnTo>
                    <a:lnTo>
                      <a:pt x="1011" y="510"/>
                    </a:lnTo>
                    <a:lnTo>
                      <a:pt x="1025" y="510"/>
                    </a:lnTo>
                    <a:lnTo>
                      <a:pt x="1025" y="498"/>
                    </a:lnTo>
                    <a:lnTo>
                      <a:pt x="1060" y="498"/>
                    </a:lnTo>
                    <a:lnTo>
                      <a:pt x="1060" y="510"/>
                    </a:lnTo>
                    <a:lnTo>
                      <a:pt x="1074" y="510"/>
                    </a:lnTo>
                    <a:lnTo>
                      <a:pt x="1074" y="498"/>
                    </a:lnTo>
                    <a:lnTo>
                      <a:pt x="1107" y="498"/>
                    </a:lnTo>
                    <a:lnTo>
                      <a:pt x="1107" y="510"/>
                    </a:lnTo>
                    <a:lnTo>
                      <a:pt x="1122" y="510"/>
                    </a:lnTo>
                    <a:lnTo>
                      <a:pt x="1122" y="498"/>
                    </a:lnTo>
                    <a:lnTo>
                      <a:pt x="1155" y="498"/>
                    </a:lnTo>
                    <a:lnTo>
                      <a:pt x="1155" y="510"/>
                    </a:lnTo>
                    <a:lnTo>
                      <a:pt x="1171" y="510"/>
                    </a:lnTo>
                    <a:lnTo>
                      <a:pt x="1171" y="498"/>
                    </a:lnTo>
                    <a:lnTo>
                      <a:pt x="1204" y="498"/>
                    </a:lnTo>
                    <a:lnTo>
                      <a:pt x="1204" y="510"/>
                    </a:lnTo>
                    <a:lnTo>
                      <a:pt x="1219" y="510"/>
                    </a:lnTo>
                    <a:lnTo>
                      <a:pt x="1219" y="498"/>
                    </a:lnTo>
                    <a:lnTo>
                      <a:pt x="1253" y="498"/>
                    </a:lnTo>
                    <a:lnTo>
                      <a:pt x="1253" y="510"/>
                    </a:lnTo>
                    <a:lnTo>
                      <a:pt x="1268" y="510"/>
                    </a:lnTo>
                    <a:lnTo>
                      <a:pt x="1268" y="498"/>
                    </a:lnTo>
                    <a:lnTo>
                      <a:pt x="1301" y="498"/>
                    </a:lnTo>
                    <a:lnTo>
                      <a:pt x="1301" y="510"/>
                    </a:lnTo>
                    <a:lnTo>
                      <a:pt x="1316" y="510"/>
                    </a:lnTo>
                    <a:lnTo>
                      <a:pt x="1316" y="498"/>
                    </a:lnTo>
                    <a:lnTo>
                      <a:pt x="1350" y="498"/>
                    </a:lnTo>
                    <a:lnTo>
                      <a:pt x="1350" y="510"/>
                    </a:lnTo>
                    <a:lnTo>
                      <a:pt x="1365" y="510"/>
                    </a:lnTo>
                    <a:lnTo>
                      <a:pt x="1365" y="498"/>
                    </a:lnTo>
                    <a:lnTo>
                      <a:pt x="1398" y="498"/>
                    </a:lnTo>
                    <a:lnTo>
                      <a:pt x="1398" y="510"/>
                    </a:lnTo>
                    <a:lnTo>
                      <a:pt x="1413" y="510"/>
                    </a:lnTo>
                    <a:lnTo>
                      <a:pt x="1413" y="498"/>
                    </a:lnTo>
                    <a:lnTo>
                      <a:pt x="1447" y="498"/>
                    </a:lnTo>
                    <a:lnTo>
                      <a:pt x="1447" y="510"/>
                    </a:lnTo>
                    <a:lnTo>
                      <a:pt x="1462" y="510"/>
                    </a:lnTo>
                    <a:lnTo>
                      <a:pt x="1462" y="498"/>
                    </a:lnTo>
                    <a:lnTo>
                      <a:pt x="1495" y="498"/>
                    </a:lnTo>
                    <a:lnTo>
                      <a:pt x="1495" y="510"/>
                    </a:lnTo>
                    <a:lnTo>
                      <a:pt x="1510" y="510"/>
                    </a:lnTo>
                    <a:lnTo>
                      <a:pt x="1510" y="498"/>
                    </a:lnTo>
                    <a:lnTo>
                      <a:pt x="1551" y="498"/>
                    </a:lnTo>
                    <a:lnTo>
                      <a:pt x="1551" y="473"/>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800"/>
              <p:cNvSpPr>
                <a:spLocks noEditPoints="1"/>
              </p:cNvSpPr>
              <p:nvPr/>
            </p:nvSpPr>
            <p:spPr bwMode="auto">
              <a:xfrm>
                <a:off x="853032" y="3440985"/>
                <a:ext cx="1219540" cy="567780"/>
              </a:xfrm>
              <a:custGeom>
                <a:avLst/>
                <a:gdLst>
                  <a:gd name="T0" fmla="*/ 828 w 881"/>
                  <a:gd name="T1" fmla="*/ 21 h 410"/>
                  <a:gd name="T2" fmla="*/ 797 w 881"/>
                  <a:gd name="T3" fmla="*/ 119 h 410"/>
                  <a:gd name="T4" fmla="*/ 763 w 881"/>
                  <a:gd name="T5" fmla="*/ 136 h 410"/>
                  <a:gd name="T6" fmla="*/ 717 w 881"/>
                  <a:gd name="T7" fmla="*/ 199 h 410"/>
                  <a:gd name="T8" fmla="*/ 675 w 881"/>
                  <a:gd name="T9" fmla="*/ 211 h 410"/>
                  <a:gd name="T10" fmla="*/ 592 w 881"/>
                  <a:gd name="T11" fmla="*/ 299 h 410"/>
                  <a:gd name="T12" fmla="*/ 548 w 881"/>
                  <a:gd name="T13" fmla="*/ 308 h 410"/>
                  <a:gd name="T14" fmla="*/ 417 w 881"/>
                  <a:gd name="T15" fmla="*/ 357 h 410"/>
                  <a:gd name="T16" fmla="*/ 369 w 881"/>
                  <a:gd name="T17" fmla="*/ 357 h 410"/>
                  <a:gd name="T18" fmla="*/ 247 w 881"/>
                  <a:gd name="T19" fmla="*/ 380 h 410"/>
                  <a:gd name="T20" fmla="*/ 197 w 881"/>
                  <a:gd name="T21" fmla="*/ 375 h 410"/>
                  <a:gd name="T22" fmla="*/ 54 w 881"/>
                  <a:gd name="T23" fmla="*/ 362 h 410"/>
                  <a:gd name="T24" fmla="*/ 4 w 881"/>
                  <a:gd name="T25" fmla="*/ 354 h 410"/>
                  <a:gd name="T26" fmla="*/ 51 w 881"/>
                  <a:gd name="T27" fmla="*/ 372 h 410"/>
                  <a:gd name="T28" fmla="*/ 215 w 881"/>
                  <a:gd name="T29" fmla="*/ 406 h 410"/>
                  <a:gd name="T30" fmla="*/ 372 w 881"/>
                  <a:gd name="T31" fmla="*/ 377 h 410"/>
                  <a:gd name="T32" fmla="*/ 417 w 881"/>
                  <a:gd name="T33" fmla="*/ 371 h 410"/>
                  <a:gd name="T34" fmla="*/ 555 w 881"/>
                  <a:gd name="T35" fmla="*/ 332 h 410"/>
                  <a:gd name="T36" fmla="*/ 597 w 881"/>
                  <a:gd name="T37" fmla="*/ 321 h 410"/>
                  <a:gd name="T38" fmla="*/ 685 w 881"/>
                  <a:gd name="T39" fmla="*/ 238 h 410"/>
                  <a:gd name="T40" fmla="*/ 724 w 881"/>
                  <a:gd name="T41" fmla="*/ 224 h 410"/>
                  <a:gd name="T42" fmla="*/ 776 w 881"/>
                  <a:gd name="T43" fmla="*/ 165 h 410"/>
                  <a:gd name="T44" fmla="*/ 812 w 881"/>
                  <a:gd name="T45" fmla="*/ 149 h 410"/>
                  <a:gd name="T46" fmla="*/ 845 w 881"/>
                  <a:gd name="T47" fmla="*/ 52 h 410"/>
                  <a:gd name="T48" fmla="*/ 877 w 881"/>
                  <a:gd name="T49" fmla="*/ 35 h 410"/>
                  <a:gd name="T50" fmla="*/ 25 w 881"/>
                  <a:gd name="T51" fmla="*/ 375 h 410"/>
                  <a:gd name="T52" fmla="*/ 32 w 881"/>
                  <a:gd name="T53" fmla="*/ 347 h 410"/>
                  <a:gd name="T54" fmla="*/ 25 w 881"/>
                  <a:gd name="T55" fmla="*/ 375 h 410"/>
                  <a:gd name="T56" fmla="*/ 208 w 881"/>
                  <a:gd name="T57" fmla="*/ 378 h 410"/>
                  <a:gd name="T58" fmla="*/ 236 w 881"/>
                  <a:gd name="T59" fmla="*/ 386 h 410"/>
                  <a:gd name="T60" fmla="*/ 389 w 881"/>
                  <a:gd name="T61" fmla="*/ 377 h 410"/>
                  <a:gd name="T62" fmla="*/ 397 w 881"/>
                  <a:gd name="T63" fmla="*/ 350 h 410"/>
                  <a:gd name="T64" fmla="*/ 389 w 881"/>
                  <a:gd name="T65" fmla="*/ 377 h 410"/>
                  <a:gd name="T66" fmla="*/ 559 w 881"/>
                  <a:gd name="T67" fmla="*/ 311 h 410"/>
                  <a:gd name="T68" fmla="*/ 587 w 881"/>
                  <a:gd name="T69" fmla="*/ 318 h 410"/>
                  <a:gd name="T70" fmla="*/ 696 w 881"/>
                  <a:gd name="T71" fmla="*/ 231 h 410"/>
                  <a:gd name="T72" fmla="*/ 704 w 881"/>
                  <a:gd name="T73" fmla="*/ 204 h 410"/>
                  <a:gd name="T74" fmla="*/ 696 w 881"/>
                  <a:gd name="T75" fmla="*/ 231 h 410"/>
                  <a:gd name="T76" fmla="*/ 773 w 881"/>
                  <a:gd name="T77" fmla="*/ 139 h 410"/>
                  <a:gd name="T78" fmla="*/ 801 w 881"/>
                  <a:gd name="T79" fmla="*/ 146 h 410"/>
                  <a:gd name="T80" fmla="*/ 849 w 881"/>
                  <a:gd name="T81" fmla="*/ 42 h 410"/>
                  <a:gd name="T82" fmla="*/ 856 w 881"/>
                  <a:gd name="T83" fmla="*/ 14 h 410"/>
                  <a:gd name="T84" fmla="*/ 849 w 881"/>
                  <a:gd name="T85" fmla="*/ 4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1" h="410">
                    <a:moveTo>
                      <a:pt x="859" y="4"/>
                    </a:moveTo>
                    <a:cubicBezTo>
                      <a:pt x="846" y="0"/>
                      <a:pt x="832" y="8"/>
                      <a:pt x="828" y="21"/>
                    </a:cubicBezTo>
                    <a:cubicBezTo>
                      <a:pt x="825" y="31"/>
                      <a:pt x="829" y="41"/>
                      <a:pt x="836" y="47"/>
                    </a:cubicBezTo>
                    <a:cubicBezTo>
                      <a:pt x="797" y="119"/>
                      <a:pt x="797" y="119"/>
                      <a:pt x="797" y="119"/>
                    </a:cubicBezTo>
                    <a:cubicBezTo>
                      <a:pt x="796" y="119"/>
                      <a:pt x="795" y="118"/>
                      <a:pt x="794" y="118"/>
                    </a:cubicBezTo>
                    <a:cubicBezTo>
                      <a:pt x="781" y="114"/>
                      <a:pt x="767" y="122"/>
                      <a:pt x="763" y="136"/>
                    </a:cubicBezTo>
                    <a:cubicBezTo>
                      <a:pt x="760" y="144"/>
                      <a:pt x="762" y="152"/>
                      <a:pt x="767" y="158"/>
                    </a:cubicBezTo>
                    <a:cubicBezTo>
                      <a:pt x="717" y="199"/>
                      <a:pt x="717" y="199"/>
                      <a:pt x="717" y="199"/>
                    </a:cubicBezTo>
                    <a:cubicBezTo>
                      <a:pt x="714" y="196"/>
                      <a:pt x="710" y="194"/>
                      <a:pt x="707" y="193"/>
                    </a:cubicBezTo>
                    <a:cubicBezTo>
                      <a:pt x="693" y="189"/>
                      <a:pt x="679" y="197"/>
                      <a:pt x="675" y="211"/>
                    </a:cubicBezTo>
                    <a:cubicBezTo>
                      <a:pt x="673" y="217"/>
                      <a:pt x="674" y="224"/>
                      <a:pt x="678" y="230"/>
                    </a:cubicBezTo>
                    <a:cubicBezTo>
                      <a:pt x="592" y="299"/>
                      <a:pt x="592" y="299"/>
                      <a:pt x="592" y="299"/>
                    </a:cubicBezTo>
                    <a:cubicBezTo>
                      <a:pt x="589" y="295"/>
                      <a:pt x="585" y="292"/>
                      <a:pt x="580" y="290"/>
                    </a:cubicBezTo>
                    <a:cubicBezTo>
                      <a:pt x="566" y="286"/>
                      <a:pt x="552" y="294"/>
                      <a:pt x="548" y="308"/>
                    </a:cubicBezTo>
                    <a:cubicBezTo>
                      <a:pt x="547" y="313"/>
                      <a:pt x="547" y="318"/>
                      <a:pt x="549" y="322"/>
                    </a:cubicBezTo>
                    <a:cubicBezTo>
                      <a:pt x="417" y="357"/>
                      <a:pt x="417" y="357"/>
                      <a:pt x="417" y="357"/>
                    </a:cubicBezTo>
                    <a:cubicBezTo>
                      <a:pt x="415" y="349"/>
                      <a:pt x="409" y="342"/>
                      <a:pt x="400" y="339"/>
                    </a:cubicBezTo>
                    <a:cubicBezTo>
                      <a:pt x="386" y="336"/>
                      <a:pt x="372" y="343"/>
                      <a:pt x="369" y="357"/>
                    </a:cubicBezTo>
                    <a:cubicBezTo>
                      <a:pt x="368" y="360"/>
                      <a:pt x="367" y="363"/>
                      <a:pt x="368" y="367"/>
                    </a:cubicBezTo>
                    <a:cubicBezTo>
                      <a:pt x="247" y="380"/>
                      <a:pt x="247" y="380"/>
                      <a:pt x="247" y="380"/>
                    </a:cubicBezTo>
                    <a:cubicBezTo>
                      <a:pt x="246" y="370"/>
                      <a:pt x="239" y="361"/>
                      <a:pt x="229" y="358"/>
                    </a:cubicBezTo>
                    <a:cubicBezTo>
                      <a:pt x="215" y="354"/>
                      <a:pt x="201" y="362"/>
                      <a:pt x="197" y="375"/>
                    </a:cubicBezTo>
                    <a:cubicBezTo>
                      <a:pt x="197" y="377"/>
                      <a:pt x="197" y="379"/>
                      <a:pt x="197" y="381"/>
                    </a:cubicBezTo>
                    <a:cubicBezTo>
                      <a:pt x="54" y="362"/>
                      <a:pt x="54" y="362"/>
                      <a:pt x="54" y="362"/>
                    </a:cubicBezTo>
                    <a:cubicBezTo>
                      <a:pt x="54" y="350"/>
                      <a:pt x="47" y="340"/>
                      <a:pt x="35" y="337"/>
                    </a:cubicBezTo>
                    <a:cubicBezTo>
                      <a:pt x="22" y="333"/>
                      <a:pt x="8" y="341"/>
                      <a:pt x="4" y="354"/>
                    </a:cubicBezTo>
                    <a:cubicBezTo>
                      <a:pt x="0" y="368"/>
                      <a:pt x="8" y="382"/>
                      <a:pt x="22" y="385"/>
                    </a:cubicBezTo>
                    <a:cubicBezTo>
                      <a:pt x="34" y="389"/>
                      <a:pt x="46" y="383"/>
                      <a:pt x="51" y="372"/>
                    </a:cubicBezTo>
                    <a:cubicBezTo>
                      <a:pt x="199" y="393"/>
                      <a:pt x="199" y="393"/>
                      <a:pt x="199" y="393"/>
                    </a:cubicBezTo>
                    <a:cubicBezTo>
                      <a:pt x="202" y="399"/>
                      <a:pt x="208" y="404"/>
                      <a:pt x="215" y="406"/>
                    </a:cubicBezTo>
                    <a:cubicBezTo>
                      <a:pt x="228" y="410"/>
                      <a:pt x="241" y="403"/>
                      <a:pt x="245" y="392"/>
                    </a:cubicBezTo>
                    <a:cubicBezTo>
                      <a:pt x="372" y="377"/>
                      <a:pt x="372" y="377"/>
                      <a:pt x="372" y="377"/>
                    </a:cubicBezTo>
                    <a:cubicBezTo>
                      <a:pt x="375" y="382"/>
                      <a:pt x="380" y="386"/>
                      <a:pt x="386" y="388"/>
                    </a:cubicBezTo>
                    <a:cubicBezTo>
                      <a:pt x="400" y="392"/>
                      <a:pt x="414" y="384"/>
                      <a:pt x="417" y="371"/>
                    </a:cubicBezTo>
                    <a:cubicBezTo>
                      <a:pt x="418" y="370"/>
                      <a:pt x="418" y="369"/>
                      <a:pt x="418" y="368"/>
                    </a:cubicBezTo>
                    <a:cubicBezTo>
                      <a:pt x="555" y="332"/>
                      <a:pt x="555" y="332"/>
                      <a:pt x="555" y="332"/>
                    </a:cubicBezTo>
                    <a:cubicBezTo>
                      <a:pt x="558" y="335"/>
                      <a:pt x="561" y="338"/>
                      <a:pt x="566" y="339"/>
                    </a:cubicBezTo>
                    <a:cubicBezTo>
                      <a:pt x="579" y="343"/>
                      <a:pt x="593" y="335"/>
                      <a:pt x="597" y="321"/>
                    </a:cubicBezTo>
                    <a:cubicBezTo>
                      <a:pt x="598" y="317"/>
                      <a:pt x="598" y="313"/>
                      <a:pt x="597" y="309"/>
                    </a:cubicBezTo>
                    <a:cubicBezTo>
                      <a:pt x="685" y="238"/>
                      <a:pt x="685" y="238"/>
                      <a:pt x="685" y="238"/>
                    </a:cubicBezTo>
                    <a:cubicBezTo>
                      <a:pt x="687" y="240"/>
                      <a:pt x="690" y="241"/>
                      <a:pt x="693" y="242"/>
                    </a:cubicBezTo>
                    <a:cubicBezTo>
                      <a:pt x="706" y="246"/>
                      <a:pt x="720" y="238"/>
                      <a:pt x="724" y="224"/>
                    </a:cubicBezTo>
                    <a:cubicBezTo>
                      <a:pt x="726" y="219"/>
                      <a:pt x="725" y="213"/>
                      <a:pt x="723" y="208"/>
                    </a:cubicBezTo>
                    <a:cubicBezTo>
                      <a:pt x="776" y="165"/>
                      <a:pt x="776" y="165"/>
                      <a:pt x="776" y="165"/>
                    </a:cubicBezTo>
                    <a:cubicBezTo>
                      <a:pt x="777" y="166"/>
                      <a:pt x="779" y="166"/>
                      <a:pt x="780" y="167"/>
                    </a:cubicBezTo>
                    <a:cubicBezTo>
                      <a:pt x="794" y="171"/>
                      <a:pt x="808" y="163"/>
                      <a:pt x="812" y="149"/>
                    </a:cubicBezTo>
                    <a:cubicBezTo>
                      <a:pt x="814" y="141"/>
                      <a:pt x="812" y="132"/>
                      <a:pt x="806" y="125"/>
                    </a:cubicBezTo>
                    <a:cubicBezTo>
                      <a:pt x="845" y="52"/>
                      <a:pt x="845" y="52"/>
                      <a:pt x="845" y="52"/>
                    </a:cubicBezTo>
                    <a:cubicBezTo>
                      <a:pt x="845" y="52"/>
                      <a:pt x="846" y="52"/>
                      <a:pt x="846" y="52"/>
                    </a:cubicBezTo>
                    <a:cubicBezTo>
                      <a:pt x="859" y="56"/>
                      <a:pt x="873" y="48"/>
                      <a:pt x="877" y="35"/>
                    </a:cubicBezTo>
                    <a:cubicBezTo>
                      <a:pt x="881" y="21"/>
                      <a:pt x="873" y="7"/>
                      <a:pt x="859" y="4"/>
                    </a:cubicBezTo>
                    <a:close/>
                    <a:moveTo>
                      <a:pt x="25" y="375"/>
                    </a:moveTo>
                    <a:cubicBezTo>
                      <a:pt x="17" y="373"/>
                      <a:pt x="13" y="365"/>
                      <a:pt x="15" y="357"/>
                    </a:cubicBezTo>
                    <a:cubicBezTo>
                      <a:pt x="17" y="350"/>
                      <a:pt x="25" y="345"/>
                      <a:pt x="32" y="347"/>
                    </a:cubicBezTo>
                    <a:cubicBezTo>
                      <a:pt x="40" y="349"/>
                      <a:pt x="44" y="357"/>
                      <a:pt x="42" y="365"/>
                    </a:cubicBezTo>
                    <a:cubicBezTo>
                      <a:pt x="40" y="372"/>
                      <a:pt x="32" y="377"/>
                      <a:pt x="25" y="375"/>
                    </a:cubicBezTo>
                    <a:close/>
                    <a:moveTo>
                      <a:pt x="218" y="396"/>
                    </a:moveTo>
                    <a:cubicBezTo>
                      <a:pt x="210" y="394"/>
                      <a:pt x="206" y="386"/>
                      <a:pt x="208" y="378"/>
                    </a:cubicBezTo>
                    <a:cubicBezTo>
                      <a:pt x="210" y="371"/>
                      <a:pt x="218" y="366"/>
                      <a:pt x="226" y="368"/>
                    </a:cubicBezTo>
                    <a:cubicBezTo>
                      <a:pt x="233" y="370"/>
                      <a:pt x="238" y="378"/>
                      <a:pt x="236" y="386"/>
                    </a:cubicBezTo>
                    <a:cubicBezTo>
                      <a:pt x="233" y="393"/>
                      <a:pt x="226" y="398"/>
                      <a:pt x="218" y="396"/>
                    </a:cubicBezTo>
                    <a:close/>
                    <a:moveTo>
                      <a:pt x="389" y="377"/>
                    </a:moveTo>
                    <a:cubicBezTo>
                      <a:pt x="382" y="375"/>
                      <a:pt x="377" y="367"/>
                      <a:pt x="379" y="360"/>
                    </a:cubicBezTo>
                    <a:cubicBezTo>
                      <a:pt x="381" y="352"/>
                      <a:pt x="389" y="348"/>
                      <a:pt x="397" y="350"/>
                    </a:cubicBezTo>
                    <a:cubicBezTo>
                      <a:pt x="404" y="352"/>
                      <a:pt x="409" y="360"/>
                      <a:pt x="407" y="368"/>
                    </a:cubicBezTo>
                    <a:cubicBezTo>
                      <a:pt x="405" y="375"/>
                      <a:pt x="397" y="380"/>
                      <a:pt x="389" y="377"/>
                    </a:cubicBezTo>
                    <a:close/>
                    <a:moveTo>
                      <a:pt x="569" y="328"/>
                    </a:moveTo>
                    <a:cubicBezTo>
                      <a:pt x="561" y="326"/>
                      <a:pt x="557" y="318"/>
                      <a:pt x="559" y="311"/>
                    </a:cubicBezTo>
                    <a:cubicBezTo>
                      <a:pt x="561" y="303"/>
                      <a:pt x="569" y="299"/>
                      <a:pt x="577" y="301"/>
                    </a:cubicBezTo>
                    <a:cubicBezTo>
                      <a:pt x="584" y="303"/>
                      <a:pt x="589" y="311"/>
                      <a:pt x="587" y="318"/>
                    </a:cubicBezTo>
                    <a:cubicBezTo>
                      <a:pt x="584" y="326"/>
                      <a:pt x="576" y="330"/>
                      <a:pt x="569" y="328"/>
                    </a:cubicBezTo>
                    <a:close/>
                    <a:moveTo>
                      <a:pt x="696" y="231"/>
                    </a:moveTo>
                    <a:cubicBezTo>
                      <a:pt x="688" y="229"/>
                      <a:pt x="684" y="221"/>
                      <a:pt x="686" y="214"/>
                    </a:cubicBezTo>
                    <a:cubicBezTo>
                      <a:pt x="688" y="206"/>
                      <a:pt x="696" y="202"/>
                      <a:pt x="704" y="204"/>
                    </a:cubicBezTo>
                    <a:cubicBezTo>
                      <a:pt x="711" y="206"/>
                      <a:pt x="716" y="214"/>
                      <a:pt x="713" y="221"/>
                    </a:cubicBezTo>
                    <a:cubicBezTo>
                      <a:pt x="711" y="229"/>
                      <a:pt x="703" y="233"/>
                      <a:pt x="696" y="231"/>
                    </a:cubicBezTo>
                    <a:close/>
                    <a:moveTo>
                      <a:pt x="783" y="156"/>
                    </a:moveTo>
                    <a:cubicBezTo>
                      <a:pt x="776" y="154"/>
                      <a:pt x="771" y="146"/>
                      <a:pt x="773" y="139"/>
                    </a:cubicBezTo>
                    <a:cubicBezTo>
                      <a:pt x="776" y="131"/>
                      <a:pt x="783" y="127"/>
                      <a:pt x="791" y="129"/>
                    </a:cubicBezTo>
                    <a:cubicBezTo>
                      <a:pt x="799" y="131"/>
                      <a:pt x="803" y="139"/>
                      <a:pt x="801" y="146"/>
                    </a:cubicBezTo>
                    <a:cubicBezTo>
                      <a:pt x="799" y="154"/>
                      <a:pt x="791" y="158"/>
                      <a:pt x="783" y="156"/>
                    </a:cubicBezTo>
                    <a:close/>
                    <a:moveTo>
                      <a:pt x="849" y="42"/>
                    </a:moveTo>
                    <a:cubicBezTo>
                      <a:pt x="841" y="40"/>
                      <a:pt x="837" y="32"/>
                      <a:pt x="839" y="24"/>
                    </a:cubicBezTo>
                    <a:cubicBezTo>
                      <a:pt x="841" y="16"/>
                      <a:pt x="849" y="12"/>
                      <a:pt x="856" y="14"/>
                    </a:cubicBezTo>
                    <a:cubicBezTo>
                      <a:pt x="864" y="16"/>
                      <a:pt x="868" y="24"/>
                      <a:pt x="866" y="32"/>
                    </a:cubicBezTo>
                    <a:cubicBezTo>
                      <a:pt x="864" y="39"/>
                      <a:pt x="856" y="44"/>
                      <a:pt x="849" y="42"/>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801"/>
              <p:cNvSpPr>
                <a:spLocks noChangeArrowheads="1"/>
              </p:cNvSpPr>
              <p:nvPr/>
            </p:nvSpPr>
            <p:spPr bwMode="auto">
              <a:xfrm>
                <a:off x="1979464" y="3421816"/>
                <a:ext cx="115929" cy="115017"/>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848"/>
              <p:cNvSpPr>
                <a:spLocks noEditPoints="1"/>
              </p:cNvSpPr>
              <p:nvPr/>
            </p:nvSpPr>
            <p:spPr bwMode="auto">
              <a:xfrm>
                <a:off x="316288" y="3156182"/>
                <a:ext cx="2473768" cy="1811968"/>
              </a:xfrm>
              <a:custGeom>
                <a:avLst/>
                <a:gdLst>
                  <a:gd name="T0" fmla="*/ 1312 w 1788"/>
                  <a:gd name="T1" fmla="*/ 350 h 1308"/>
                  <a:gd name="T2" fmla="*/ 1409 w 1788"/>
                  <a:gd name="T3" fmla="*/ 391 h 1308"/>
                  <a:gd name="T4" fmla="*/ 741 w 1788"/>
                  <a:gd name="T5" fmla="*/ 905 h 1308"/>
                  <a:gd name="T6" fmla="*/ 0 w 1788"/>
                  <a:gd name="T7" fmla="*/ 1084 h 1308"/>
                  <a:gd name="T8" fmla="*/ 330 w 1788"/>
                  <a:gd name="T9" fmla="*/ 1108 h 1308"/>
                  <a:gd name="T10" fmla="*/ 896 w 1788"/>
                  <a:gd name="T11" fmla="*/ 1289 h 1308"/>
                  <a:gd name="T12" fmla="*/ 1595 w 1788"/>
                  <a:gd name="T13" fmla="*/ 568 h 1308"/>
                  <a:gd name="T14" fmla="*/ 1663 w 1788"/>
                  <a:gd name="T15" fmla="*/ 499 h 1308"/>
                  <a:gd name="T16" fmla="*/ 1779 w 1788"/>
                  <a:gd name="T17" fmla="*/ 549 h 1308"/>
                  <a:gd name="T18" fmla="*/ 1788 w 1788"/>
                  <a:gd name="T19" fmla="*/ 0 h 1308"/>
                  <a:gd name="T20" fmla="*/ 1312 w 1788"/>
                  <a:gd name="T21" fmla="*/ 350 h 1308"/>
                  <a:gd name="T22" fmla="*/ 887 w 1788"/>
                  <a:gd name="T23" fmla="*/ 1194 h 1308"/>
                  <a:gd name="T24" fmla="*/ 477 w 1788"/>
                  <a:gd name="T25" fmla="*/ 1097 h 1308"/>
                  <a:gd name="T26" fmla="*/ 1068 w 1788"/>
                  <a:gd name="T27" fmla="*/ 929 h 1308"/>
                  <a:gd name="T28" fmla="*/ 1485 w 1788"/>
                  <a:gd name="T29" fmla="*/ 666 h 1308"/>
                  <a:gd name="T30" fmla="*/ 887 w 1788"/>
                  <a:gd name="T31" fmla="*/ 119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88" h="1308">
                    <a:moveTo>
                      <a:pt x="1312" y="350"/>
                    </a:moveTo>
                    <a:cubicBezTo>
                      <a:pt x="1409" y="391"/>
                      <a:pt x="1409" y="391"/>
                      <a:pt x="1409" y="391"/>
                    </a:cubicBezTo>
                    <a:cubicBezTo>
                      <a:pt x="1244" y="596"/>
                      <a:pt x="1016" y="777"/>
                      <a:pt x="741" y="905"/>
                    </a:cubicBezTo>
                    <a:cubicBezTo>
                      <a:pt x="495" y="1019"/>
                      <a:pt x="240" y="1077"/>
                      <a:pt x="0" y="1084"/>
                    </a:cubicBezTo>
                    <a:cubicBezTo>
                      <a:pt x="106" y="1103"/>
                      <a:pt x="216" y="1111"/>
                      <a:pt x="330" y="1108"/>
                    </a:cubicBezTo>
                    <a:cubicBezTo>
                      <a:pt x="481" y="1237"/>
                      <a:pt x="682" y="1308"/>
                      <a:pt x="896" y="1289"/>
                    </a:cubicBezTo>
                    <a:cubicBezTo>
                      <a:pt x="1281" y="1256"/>
                      <a:pt x="1574" y="943"/>
                      <a:pt x="1595" y="568"/>
                    </a:cubicBezTo>
                    <a:cubicBezTo>
                      <a:pt x="1618" y="546"/>
                      <a:pt x="1641" y="523"/>
                      <a:pt x="1663" y="499"/>
                    </a:cubicBezTo>
                    <a:cubicBezTo>
                      <a:pt x="1779" y="549"/>
                      <a:pt x="1779" y="549"/>
                      <a:pt x="1779" y="549"/>
                    </a:cubicBezTo>
                    <a:cubicBezTo>
                      <a:pt x="1788" y="0"/>
                      <a:pt x="1788" y="0"/>
                      <a:pt x="1788" y="0"/>
                    </a:cubicBezTo>
                    <a:lnTo>
                      <a:pt x="1312" y="350"/>
                    </a:lnTo>
                    <a:close/>
                    <a:moveTo>
                      <a:pt x="887" y="1194"/>
                    </a:moveTo>
                    <a:cubicBezTo>
                      <a:pt x="738" y="1207"/>
                      <a:pt x="596" y="1170"/>
                      <a:pt x="477" y="1097"/>
                    </a:cubicBezTo>
                    <a:cubicBezTo>
                      <a:pt x="671" y="1075"/>
                      <a:pt x="872" y="1020"/>
                      <a:pt x="1068" y="929"/>
                    </a:cubicBezTo>
                    <a:cubicBezTo>
                      <a:pt x="1223" y="856"/>
                      <a:pt x="1363" y="767"/>
                      <a:pt x="1485" y="666"/>
                    </a:cubicBezTo>
                    <a:cubicBezTo>
                      <a:pt x="1425" y="947"/>
                      <a:pt x="1188" y="1168"/>
                      <a:pt x="887" y="1194"/>
                    </a:cubicBez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849"/>
              <p:cNvSpPr>
                <a:spLocks/>
              </p:cNvSpPr>
              <p:nvPr/>
            </p:nvSpPr>
            <p:spPr bwMode="auto">
              <a:xfrm>
                <a:off x="984479" y="3090459"/>
                <a:ext cx="134186" cy="167961"/>
              </a:xfrm>
              <a:custGeom>
                <a:avLst/>
                <a:gdLst>
                  <a:gd name="T0" fmla="*/ 58 w 97"/>
                  <a:gd name="T1" fmla="*/ 58 h 121"/>
                  <a:gd name="T2" fmla="*/ 97 w 97"/>
                  <a:gd name="T3" fmla="*/ 58 h 121"/>
                  <a:gd name="T4" fmla="*/ 97 w 97"/>
                  <a:gd name="T5" fmla="*/ 115 h 121"/>
                  <a:gd name="T6" fmla="*/ 79 w 97"/>
                  <a:gd name="T7" fmla="*/ 119 h 121"/>
                  <a:gd name="T8" fmla="*/ 56 w 97"/>
                  <a:gd name="T9" fmla="*/ 121 h 121"/>
                  <a:gd name="T10" fmla="*/ 15 w 97"/>
                  <a:gd name="T11" fmla="*/ 105 h 121"/>
                  <a:gd name="T12" fmla="*/ 0 w 97"/>
                  <a:gd name="T13" fmla="*/ 60 h 121"/>
                  <a:gd name="T14" fmla="*/ 7 w 97"/>
                  <a:gd name="T15" fmla="*/ 28 h 121"/>
                  <a:gd name="T16" fmla="*/ 28 w 97"/>
                  <a:gd name="T17" fmla="*/ 7 h 121"/>
                  <a:gd name="T18" fmla="*/ 61 w 97"/>
                  <a:gd name="T19" fmla="*/ 0 h 121"/>
                  <a:gd name="T20" fmla="*/ 96 w 97"/>
                  <a:gd name="T21" fmla="*/ 7 h 121"/>
                  <a:gd name="T22" fmla="*/ 90 w 97"/>
                  <a:gd name="T23" fmla="*/ 19 h 121"/>
                  <a:gd name="T24" fmla="*/ 60 w 97"/>
                  <a:gd name="T25" fmla="*/ 12 h 121"/>
                  <a:gd name="T26" fmla="*/ 26 w 97"/>
                  <a:gd name="T27" fmla="*/ 25 h 121"/>
                  <a:gd name="T28" fmla="*/ 14 w 97"/>
                  <a:gd name="T29" fmla="*/ 60 h 121"/>
                  <a:gd name="T30" fmla="*/ 26 w 97"/>
                  <a:gd name="T31" fmla="*/ 96 h 121"/>
                  <a:gd name="T32" fmla="*/ 60 w 97"/>
                  <a:gd name="T33" fmla="*/ 109 h 121"/>
                  <a:gd name="T34" fmla="*/ 84 w 97"/>
                  <a:gd name="T35" fmla="*/ 106 h 121"/>
                  <a:gd name="T36" fmla="*/ 84 w 97"/>
                  <a:gd name="T37" fmla="*/ 70 h 121"/>
                  <a:gd name="T38" fmla="*/ 58 w 97"/>
                  <a:gd name="T39" fmla="*/ 70 h 121"/>
                  <a:gd name="T40" fmla="*/ 58 w 97"/>
                  <a:gd name="T41" fmla="*/ 5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1">
                    <a:moveTo>
                      <a:pt x="58" y="58"/>
                    </a:moveTo>
                    <a:cubicBezTo>
                      <a:pt x="97" y="58"/>
                      <a:pt x="97" y="58"/>
                      <a:pt x="97" y="58"/>
                    </a:cubicBezTo>
                    <a:cubicBezTo>
                      <a:pt x="97" y="115"/>
                      <a:pt x="97" y="115"/>
                      <a:pt x="97" y="115"/>
                    </a:cubicBezTo>
                    <a:cubicBezTo>
                      <a:pt x="91" y="117"/>
                      <a:pt x="85" y="118"/>
                      <a:pt x="79" y="119"/>
                    </a:cubicBezTo>
                    <a:cubicBezTo>
                      <a:pt x="72" y="120"/>
                      <a:pt x="65" y="121"/>
                      <a:pt x="56" y="121"/>
                    </a:cubicBezTo>
                    <a:cubicBezTo>
                      <a:pt x="38" y="121"/>
                      <a:pt x="25" y="115"/>
                      <a:pt x="15" y="105"/>
                    </a:cubicBezTo>
                    <a:cubicBezTo>
                      <a:pt x="5" y="94"/>
                      <a:pt x="0" y="79"/>
                      <a:pt x="0" y="60"/>
                    </a:cubicBezTo>
                    <a:cubicBezTo>
                      <a:pt x="0" y="48"/>
                      <a:pt x="2" y="38"/>
                      <a:pt x="7" y="28"/>
                    </a:cubicBezTo>
                    <a:cubicBezTo>
                      <a:pt x="12" y="19"/>
                      <a:pt x="19" y="12"/>
                      <a:pt x="28" y="7"/>
                    </a:cubicBezTo>
                    <a:cubicBezTo>
                      <a:pt x="38" y="2"/>
                      <a:pt x="48" y="0"/>
                      <a:pt x="61" y="0"/>
                    </a:cubicBezTo>
                    <a:cubicBezTo>
                      <a:pt x="73" y="0"/>
                      <a:pt x="85" y="2"/>
                      <a:pt x="96" y="7"/>
                    </a:cubicBezTo>
                    <a:cubicBezTo>
                      <a:pt x="90" y="19"/>
                      <a:pt x="90" y="19"/>
                      <a:pt x="90" y="19"/>
                    </a:cubicBezTo>
                    <a:cubicBezTo>
                      <a:pt x="80" y="15"/>
                      <a:pt x="70" y="12"/>
                      <a:pt x="60" y="12"/>
                    </a:cubicBezTo>
                    <a:cubicBezTo>
                      <a:pt x="46" y="12"/>
                      <a:pt x="34" y="17"/>
                      <a:pt x="26" y="25"/>
                    </a:cubicBezTo>
                    <a:cubicBezTo>
                      <a:pt x="18" y="34"/>
                      <a:pt x="14" y="45"/>
                      <a:pt x="14" y="60"/>
                    </a:cubicBezTo>
                    <a:cubicBezTo>
                      <a:pt x="14" y="76"/>
                      <a:pt x="18" y="88"/>
                      <a:pt x="26" y="96"/>
                    </a:cubicBezTo>
                    <a:cubicBezTo>
                      <a:pt x="34" y="105"/>
                      <a:pt x="45" y="109"/>
                      <a:pt x="60" y="109"/>
                    </a:cubicBezTo>
                    <a:cubicBezTo>
                      <a:pt x="68" y="109"/>
                      <a:pt x="76" y="108"/>
                      <a:pt x="84" y="106"/>
                    </a:cubicBezTo>
                    <a:cubicBezTo>
                      <a:pt x="84" y="70"/>
                      <a:pt x="84" y="70"/>
                      <a:pt x="84" y="70"/>
                    </a:cubicBezTo>
                    <a:cubicBezTo>
                      <a:pt x="58" y="70"/>
                      <a:pt x="58" y="70"/>
                      <a:pt x="58" y="70"/>
                    </a:cubicBezTo>
                    <a:lnTo>
                      <a:pt x="58" y="5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850"/>
              <p:cNvSpPr>
                <a:spLocks/>
              </p:cNvSpPr>
              <p:nvPr/>
            </p:nvSpPr>
            <p:spPr bwMode="auto">
              <a:xfrm>
                <a:off x="1132358" y="3093197"/>
                <a:ext cx="122319" cy="162484"/>
              </a:xfrm>
              <a:custGeom>
                <a:avLst/>
                <a:gdLst>
                  <a:gd name="T0" fmla="*/ 77 w 134"/>
                  <a:gd name="T1" fmla="*/ 178 h 178"/>
                  <a:gd name="T2" fmla="*/ 56 w 134"/>
                  <a:gd name="T3" fmla="*/ 178 h 178"/>
                  <a:gd name="T4" fmla="*/ 56 w 134"/>
                  <a:gd name="T5" fmla="*/ 18 h 178"/>
                  <a:gd name="T6" fmla="*/ 0 w 134"/>
                  <a:gd name="T7" fmla="*/ 18 h 178"/>
                  <a:gd name="T8" fmla="*/ 0 w 134"/>
                  <a:gd name="T9" fmla="*/ 0 h 178"/>
                  <a:gd name="T10" fmla="*/ 134 w 134"/>
                  <a:gd name="T11" fmla="*/ 0 h 178"/>
                  <a:gd name="T12" fmla="*/ 134 w 134"/>
                  <a:gd name="T13" fmla="*/ 18 h 178"/>
                  <a:gd name="T14" fmla="*/ 77 w 134"/>
                  <a:gd name="T15" fmla="*/ 18 h 178"/>
                  <a:gd name="T16" fmla="*/ 77 w 134"/>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8">
                    <a:moveTo>
                      <a:pt x="77" y="178"/>
                    </a:moveTo>
                    <a:lnTo>
                      <a:pt x="56" y="178"/>
                    </a:lnTo>
                    <a:lnTo>
                      <a:pt x="56" y="18"/>
                    </a:lnTo>
                    <a:lnTo>
                      <a:pt x="0" y="18"/>
                    </a:lnTo>
                    <a:lnTo>
                      <a:pt x="0" y="0"/>
                    </a:lnTo>
                    <a:lnTo>
                      <a:pt x="134" y="0"/>
                    </a:lnTo>
                    <a:lnTo>
                      <a:pt x="134" y="18"/>
                    </a:lnTo>
                    <a:lnTo>
                      <a:pt x="77" y="18"/>
                    </a:lnTo>
                    <a:lnTo>
                      <a:pt x="77"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851"/>
              <p:cNvSpPr>
                <a:spLocks/>
              </p:cNvSpPr>
              <p:nvPr/>
            </p:nvSpPr>
            <p:spPr bwMode="auto">
              <a:xfrm>
                <a:off x="1262892" y="3090459"/>
                <a:ext cx="100411" cy="167961"/>
              </a:xfrm>
              <a:custGeom>
                <a:avLst/>
                <a:gdLst>
                  <a:gd name="T0" fmla="*/ 73 w 73"/>
                  <a:gd name="T1" fmla="*/ 88 h 121"/>
                  <a:gd name="T2" fmla="*/ 62 w 73"/>
                  <a:gd name="T3" fmla="*/ 112 h 121"/>
                  <a:gd name="T4" fmla="*/ 32 w 73"/>
                  <a:gd name="T5" fmla="*/ 121 h 121"/>
                  <a:gd name="T6" fmla="*/ 0 w 73"/>
                  <a:gd name="T7" fmla="*/ 115 h 121"/>
                  <a:gd name="T8" fmla="*/ 0 w 73"/>
                  <a:gd name="T9" fmla="*/ 102 h 121"/>
                  <a:gd name="T10" fmla="*/ 15 w 73"/>
                  <a:gd name="T11" fmla="*/ 107 h 121"/>
                  <a:gd name="T12" fmla="*/ 32 w 73"/>
                  <a:gd name="T13" fmla="*/ 109 h 121"/>
                  <a:gd name="T14" fmla="*/ 53 w 73"/>
                  <a:gd name="T15" fmla="*/ 104 h 121"/>
                  <a:gd name="T16" fmla="*/ 60 w 73"/>
                  <a:gd name="T17" fmla="*/ 89 h 121"/>
                  <a:gd name="T18" fmla="*/ 57 w 73"/>
                  <a:gd name="T19" fmla="*/ 79 h 121"/>
                  <a:gd name="T20" fmla="*/ 49 w 73"/>
                  <a:gd name="T21" fmla="*/ 72 h 121"/>
                  <a:gd name="T22" fmla="*/ 32 w 73"/>
                  <a:gd name="T23" fmla="*/ 64 h 121"/>
                  <a:gd name="T24" fmla="*/ 8 w 73"/>
                  <a:gd name="T25" fmla="*/ 51 h 121"/>
                  <a:gd name="T26" fmla="*/ 1 w 73"/>
                  <a:gd name="T27" fmla="*/ 30 h 121"/>
                  <a:gd name="T28" fmla="*/ 11 w 73"/>
                  <a:gd name="T29" fmla="*/ 8 h 121"/>
                  <a:gd name="T30" fmla="*/ 38 w 73"/>
                  <a:gd name="T31" fmla="*/ 0 h 121"/>
                  <a:gd name="T32" fmla="*/ 71 w 73"/>
                  <a:gd name="T33" fmla="*/ 6 h 121"/>
                  <a:gd name="T34" fmla="*/ 66 w 73"/>
                  <a:gd name="T35" fmla="*/ 18 h 121"/>
                  <a:gd name="T36" fmla="*/ 38 w 73"/>
                  <a:gd name="T37" fmla="*/ 12 h 121"/>
                  <a:gd name="T38" fmla="*/ 21 w 73"/>
                  <a:gd name="T39" fmla="*/ 17 h 121"/>
                  <a:gd name="T40" fmla="*/ 15 w 73"/>
                  <a:gd name="T41" fmla="*/ 30 h 121"/>
                  <a:gd name="T42" fmla="*/ 17 w 73"/>
                  <a:gd name="T43" fmla="*/ 40 h 121"/>
                  <a:gd name="T44" fmla="*/ 25 w 73"/>
                  <a:gd name="T45" fmla="*/ 47 h 121"/>
                  <a:gd name="T46" fmla="*/ 41 w 73"/>
                  <a:gd name="T47" fmla="*/ 54 h 121"/>
                  <a:gd name="T48" fmla="*/ 67 w 73"/>
                  <a:gd name="T49" fmla="*/ 68 h 121"/>
                  <a:gd name="T50" fmla="*/ 73 w 73"/>
                  <a:gd name="T51"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21">
                    <a:moveTo>
                      <a:pt x="73" y="88"/>
                    </a:moveTo>
                    <a:cubicBezTo>
                      <a:pt x="73" y="98"/>
                      <a:pt x="70" y="106"/>
                      <a:pt x="62" y="112"/>
                    </a:cubicBezTo>
                    <a:cubicBezTo>
                      <a:pt x="55" y="118"/>
                      <a:pt x="45" y="121"/>
                      <a:pt x="32" y="121"/>
                    </a:cubicBezTo>
                    <a:cubicBezTo>
                      <a:pt x="18" y="121"/>
                      <a:pt x="7" y="119"/>
                      <a:pt x="0" y="115"/>
                    </a:cubicBezTo>
                    <a:cubicBezTo>
                      <a:pt x="0" y="102"/>
                      <a:pt x="0" y="102"/>
                      <a:pt x="0" y="102"/>
                    </a:cubicBezTo>
                    <a:cubicBezTo>
                      <a:pt x="4" y="104"/>
                      <a:pt x="10" y="106"/>
                      <a:pt x="15" y="107"/>
                    </a:cubicBezTo>
                    <a:cubicBezTo>
                      <a:pt x="21" y="108"/>
                      <a:pt x="27" y="109"/>
                      <a:pt x="32" y="109"/>
                    </a:cubicBezTo>
                    <a:cubicBezTo>
                      <a:pt x="41" y="109"/>
                      <a:pt x="48" y="107"/>
                      <a:pt x="53" y="104"/>
                    </a:cubicBezTo>
                    <a:cubicBezTo>
                      <a:pt x="57" y="100"/>
                      <a:pt x="60" y="95"/>
                      <a:pt x="60" y="89"/>
                    </a:cubicBezTo>
                    <a:cubicBezTo>
                      <a:pt x="60" y="85"/>
                      <a:pt x="59" y="82"/>
                      <a:pt x="57" y="79"/>
                    </a:cubicBezTo>
                    <a:cubicBezTo>
                      <a:pt x="56" y="77"/>
                      <a:pt x="53" y="74"/>
                      <a:pt x="49" y="72"/>
                    </a:cubicBezTo>
                    <a:cubicBezTo>
                      <a:pt x="45" y="70"/>
                      <a:pt x="39" y="67"/>
                      <a:pt x="32" y="64"/>
                    </a:cubicBezTo>
                    <a:cubicBezTo>
                      <a:pt x="21" y="61"/>
                      <a:pt x="13" y="56"/>
                      <a:pt x="8" y="51"/>
                    </a:cubicBezTo>
                    <a:cubicBezTo>
                      <a:pt x="4" y="45"/>
                      <a:pt x="1" y="38"/>
                      <a:pt x="1" y="30"/>
                    </a:cubicBezTo>
                    <a:cubicBezTo>
                      <a:pt x="1" y="21"/>
                      <a:pt x="5" y="13"/>
                      <a:pt x="11" y="8"/>
                    </a:cubicBezTo>
                    <a:cubicBezTo>
                      <a:pt x="18" y="3"/>
                      <a:pt x="27" y="0"/>
                      <a:pt x="38" y="0"/>
                    </a:cubicBezTo>
                    <a:cubicBezTo>
                      <a:pt x="50" y="0"/>
                      <a:pt x="61" y="2"/>
                      <a:pt x="71" y="6"/>
                    </a:cubicBezTo>
                    <a:cubicBezTo>
                      <a:pt x="66" y="18"/>
                      <a:pt x="66" y="18"/>
                      <a:pt x="66" y="18"/>
                    </a:cubicBezTo>
                    <a:cubicBezTo>
                      <a:pt x="57" y="14"/>
                      <a:pt x="47" y="12"/>
                      <a:pt x="38" y="12"/>
                    </a:cubicBezTo>
                    <a:cubicBezTo>
                      <a:pt x="31" y="12"/>
                      <a:pt x="25" y="14"/>
                      <a:pt x="21" y="17"/>
                    </a:cubicBezTo>
                    <a:cubicBezTo>
                      <a:pt x="17" y="20"/>
                      <a:pt x="15" y="24"/>
                      <a:pt x="15" y="30"/>
                    </a:cubicBezTo>
                    <a:cubicBezTo>
                      <a:pt x="15" y="34"/>
                      <a:pt x="16" y="37"/>
                      <a:pt x="17" y="40"/>
                    </a:cubicBezTo>
                    <a:cubicBezTo>
                      <a:pt x="19" y="42"/>
                      <a:pt x="21" y="45"/>
                      <a:pt x="25" y="47"/>
                    </a:cubicBezTo>
                    <a:cubicBezTo>
                      <a:pt x="28" y="49"/>
                      <a:pt x="34" y="52"/>
                      <a:pt x="41" y="54"/>
                    </a:cubicBezTo>
                    <a:cubicBezTo>
                      <a:pt x="53" y="59"/>
                      <a:pt x="62" y="63"/>
                      <a:pt x="67" y="68"/>
                    </a:cubicBezTo>
                    <a:cubicBezTo>
                      <a:pt x="71" y="73"/>
                      <a:pt x="73" y="80"/>
                      <a:pt x="73" y="88"/>
                    </a:cubicBez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852"/>
              <p:cNvSpPr>
                <a:spLocks/>
              </p:cNvSpPr>
              <p:nvPr/>
            </p:nvSpPr>
            <p:spPr bwMode="auto">
              <a:xfrm>
                <a:off x="1445458" y="3093197"/>
                <a:ext cx="89457" cy="162484"/>
              </a:xfrm>
              <a:custGeom>
                <a:avLst/>
                <a:gdLst>
                  <a:gd name="T0" fmla="*/ 21 w 98"/>
                  <a:gd name="T1" fmla="*/ 178 h 178"/>
                  <a:gd name="T2" fmla="*/ 0 w 98"/>
                  <a:gd name="T3" fmla="*/ 178 h 178"/>
                  <a:gd name="T4" fmla="*/ 0 w 98"/>
                  <a:gd name="T5" fmla="*/ 0 h 178"/>
                  <a:gd name="T6" fmla="*/ 98 w 98"/>
                  <a:gd name="T7" fmla="*/ 0 h 178"/>
                  <a:gd name="T8" fmla="*/ 98 w 98"/>
                  <a:gd name="T9" fmla="*/ 18 h 178"/>
                  <a:gd name="T10" fmla="*/ 21 w 98"/>
                  <a:gd name="T11" fmla="*/ 18 h 178"/>
                  <a:gd name="T12" fmla="*/ 21 w 98"/>
                  <a:gd name="T13" fmla="*/ 84 h 178"/>
                  <a:gd name="T14" fmla="*/ 94 w 98"/>
                  <a:gd name="T15" fmla="*/ 84 h 178"/>
                  <a:gd name="T16" fmla="*/ 94 w 98"/>
                  <a:gd name="T17" fmla="*/ 102 h 178"/>
                  <a:gd name="T18" fmla="*/ 21 w 98"/>
                  <a:gd name="T19" fmla="*/ 102 h 178"/>
                  <a:gd name="T20" fmla="*/ 21 w 98"/>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78">
                    <a:moveTo>
                      <a:pt x="21" y="178"/>
                    </a:moveTo>
                    <a:lnTo>
                      <a:pt x="0" y="178"/>
                    </a:lnTo>
                    <a:lnTo>
                      <a:pt x="0" y="0"/>
                    </a:lnTo>
                    <a:lnTo>
                      <a:pt x="98" y="0"/>
                    </a:lnTo>
                    <a:lnTo>
                      <a:pt x="98" y="18"/>
                    </a:lnTo>
                    <a:lnTo>
                      <a:pt x="21" y="18"/>
                    </a:lnTo>
                    <a:lnTo>
                      <a:pt x="21" y="84"/>
                    </a:lnTo>
                    <a:lnTo>
                      <a:pt x="94" y="84"/>
                    </a:lnTo>
                    <a:lnTo>
                      <a:pt x="94" y="102"/>
                    </a:lnTo>
                    <a:lnTo>
                      <a:pt x="21" y="102"/>
                    </a:lnTo>
                    <a:lnTo>
                      <a:pt x="21"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853"/>
              <p:cNvSpPr>
                <a:spLocks/>
              </p:cNvSpPr>
              <p:nvPr/>
            </p:nvSpPr>
            <p:spPr bwMode="auto">
              <a:xfrm>
                <a:off x="1534916" y="3093197"/>
                <a:ext cx="127796" cy="162484"/>
              </a:xfrm>
              <a:custGeom>
                <a:avLst/>
                <a:gdLst>
                  <a:gd name="T0" fmla="*/ 69 w 140"/>
                  <a:gd name="T1" fmla="*/ 88 h 178"/>
                  <a:gd name="T2" fmla="*/ 117 w 140"/>
                  <a:gd name="T3" fmla="*/ 0 h 178"/>
                  <a:gd name="T4" fmla="*/ 140 w 140"/>
                  <a:gd name="T5" fmla="*/ 0 h 178"/>
                  <a:gd name="T6" fmla="*/ 79 w 140"/>
                  <a:gd name="T7" fmla="*/ 110 h 178"/>
                  <a:gd name="T8" fmla="*/ 79 w 140"/>
                  <a:gd name="T9" fmla="*/ 178 h 178"/>
                  <a:gd name="T10" fmla="*/ 59 w 140"/>
                  <a:gd name="T11" fmla="*/ 178 h 178"/>
                  <a:gd name="T12" fmla="*/ 59 w 140"/>
                  <a:gd name="T13" fmla="*/ 110 h 178"/>
                  <a:gd name="T14" fmla="*/ 0 w 140"/>
                  <a:gd name="T15" fmla="*/ 0 h 178"/>
                  <a:gd name="T16" fmla="*/ 22 w 140"/>
                  <a:gd name="T17" fmla="*/ 0 h 178"/>
                  <a:gd name="T18" fmla="*/ 69 w 140"/>
                  <a:gd name="T19" fmla="*/ 8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78">
                    <a:moveTo>
                      <a:pt x="69" y="88"/>
                    </a:moveTo>
                    <a:lnTo>
                      <a:pt x="117" y="0"/>
                    </a:lnTo>
                    <a:lnTo>
                      <a:pt x="140" y="0"/>
                    </a:lnTo>
                    <a:lnTo>
                      <a:pt x="79" y="110"/>
                    </a:lnTo>
                    <a:lnTo>
                      <a:pt x="79" y="178"/>
                    </a:lnTo>
                    <a:lnTo>
                      <a:pt x="59" y="178"/>
                    </a:lnTo>
                    <a:lnTo>
                      <a:pt x="59" y="110"/>
                    </a:lnTo>
                    <a:lnTo>
                      <a:pt x="0" y="0"/>
                    </a:lnTo>
                    <a:lnTo>
                      <a:pt x="22" y="0"/>
                    </a:lnTo>
                    <a:lnTo>
                      <a:pt x="69" y="8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54"/>
              <p:cNvSpPr>
                <a:spLocks/>
              </p:cNvSpPr>
              <p:nvPr/>
            </p:nvSpPr>
            <p:spPr bwMode="auto">
              <a:xfrm>
                <a:off x="1676404" y="3093197"/>
                <a:ext cx="59334" cy="162484"/>
              </a:xfrm>
              <a:custGeom>
                <a:avLst/>
                <a:gdLst>
                  <a:gd name="T0" fmla="*/ 43 w 43"/>
                  <a:gd name="T1" fmla="*/ 117 h 117"/>
                  <a:gd name="T2" fmla="*/ 30 w 43"/>
                  <a:gd name="T3" fmla="*/ 117 h 117"/>
                  <a:gd name="T4" fmla="*/ 30 w 43"/>
                  <a:gd name="T5" fmla="*/ 33 h 117"/>
                  <a:gd name="T6" fmla="*/ 30 w 43"/>
                  <a:gd name="T7" fmla="*/ 14 h 117"/>
                  <a:gd name="T8" fmla="*/ 27 w 43"/>
                  <a:gd name="T9" fmla="*/ 17 h 117"/>
                  <a:gd name="T10" fmla="*/ 8 w 43"/>
                  <a:gd name="T11" fmla="*/ 33 h 117"/>
                  <a:gd name="T12" fmla="*/ 0 w 43"/>
                  <a:gd name="T13" fmla="*/ 24 h 117"/>
                  <a:gd name="T14" fmla="*/ 32 w 43"/>
                  <a:gd name="T15" fmla="*/ 0 h 117"/>
                  <a:gd name="T16" fmla="*/ 43 w 43"/>
                  <a:gd name="T17" fmla="*/ 0 h 117"/>
                  <a:gd name="T18" fmla="*/ 43 w 43"/>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17">
                    <a:moveTo>
                      <a:pt x="43" y="117"/>
                    </a:moveTo>
                    <a:cubicBezTo>
                      <a:pt x="30" y="117"/>
                      <a:pt x="30" y="117"/>
                      <a:pt x="30" y="117"/>
                    </a:cubicBezTo>
                    <a:cubicBezTo>
                      <a:pt x="30" y="33"/>
                      <a:pt x="30" y="33"/>
                      <a:pt x="30" y="33"/>
                    </a:cubicBezTo>
                    <a:cubicBezTo>
                      <a:pt x="30" y="27"/>
                      <a:pt x="30" y="20"/>
                      <a:pt x="30" y="14"/>
                    </a:cubicBezTo>
                    <a:cubicBezTo>
                      <a:pt x="29" y="15"/>
                      <a:pt x="28" y="16"/>
                      <a:pt x="27" y="17"/>
                    </a:cubicBezTo>
                    <a:cubicBezTo>
                      <a:pt x="25" y="18"/>
                      <a:pt x="19" y="24"/>
                      <a:pt x="8" y="33"/>
                    </a:cubicBezTo>
                    <a:cubicBezTo>
                      <a:pt x="0" y="24"/>
                      <a:pt x="0" y="24"/>
                      <a:pt x="0" y="24"/>
                    </a:cubicBezTo>
                    <a:cubicBezTo>
                      <a:pt x="32" y="0"/>
                      <a:pt x="32" y="0"/>
                      <a:pt x="32" y="0"/>
                    </a:cubicBezTo>
                    <a:cubicBezTo>
                      <a:pt x="43" y="0"/>
                      <a:pt x="43" y="0"/>
                      <a:pt x="43" y="0"/>
                    </a:cubicBezTo>
                    <a:lnTo>
                      <a:pt x="43" y="117"/>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855"/>
              <p:cNvSpPr>
                <a:spLocks/>
              </p:cNvSpPr>
              <p:nvPr/>
            </p:nvSpPr>
            <p:spPr bwMode="auto">
              <a:xfrm>
                <a:off x="1791421" y="3093197"/>
                <a:ext cx="107714" cy="162484"/>
              </a:xfrm>
              <a:custGeom>
                <a:avLst/>
                <a:gdLst>
                  <a:gd name="T0" fmla="*/ 23 w 118"/>
                  <a:gd name="T1" fmla="*/ 178 h 178"/>
                  <a:gd name="T2" fmla="*/ 97 w 118"/>
                  <a:gd name="T3" fmla="*/ 18 h 178"/>
                  <a:gd name="T4" fmla="*/ 0 w 118"/>
                  <a:gd name="T5" fmla="*/ 18 h 178"/>
                  <a:gd name="T6" fmla="*/ 0 w 118"/>
                  <a:gd name="T7" fmla="*/ 0 h 178"/>
                  <a:gd name="T8" fmla="*/ 118 w 118"/>
                  <a:gd name="T9" fmla="*/ 0 h 178"/>
                  <a:gd name="T10" fmla="*/ 118 w 118"/>
                  <a:gd name="T11" fmla="*/ 15 h 178"/>
                  <a:gd name="T12" fmla="*/ 45 w 118"/>
                  <a:gd name="T13" fmla="*/ 178 h 178"/>
                  <a:gd name="T14" fmla="*/ 23 w 118"/>
                  <a:gd name="T15" fmla="*/ 178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78">
                    <a:moveTo>
                      <a:pt x="23" y="178"/>
                    </a:moveTo>
                    <a:lnTo>
                      <a:pt x="97" y="18"/>
                    </a:lnTo>
                    <a:lnTo>
                      <a:pt x="0" y="18"/>
                    </a:lnTo>
                    <a:lnTo>
                      <a:pt x="0" y="0"/>
                    </a:lnTo>
                    <a:lnTo>
                      <a:pt x="118" y="0"/>
                    </a:lnTo>
                    <a:lnTo>
                      <a:pt x="118" y="15"/>
                    </a:lnTo>
                    <a:lnTo>
                      <a:pt x="45" y="178"/>
                    </a:lnTo>
                    <a:lnTo>
                      <a:pt x="23" y="178"/>
                    </a:lnTo>
                    <a:close/>
                  </a:path>
                </a:pathLst>
              </a:cu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68" name="Rectangle 267"/>
          <p:cNvSpPr/>
          <p:nvPr/>
        </p:nvSpPr>
        <p:spPr>
          <a:xfrm>
            <a:off x="235557" y="6243956"/>
            <a:ext cx="3151825" cy="196208"/>
          </a:xfrm>
          <a:prstGeom prst="rect">
            <a:avLst/>
          </a:prstGeom>
        </p:spPr>
        <p:txBody>
          <a:bodyPr wrap="none">
            <a:spAutoFit/>
          </a:bodyPr>
          <a:lstStyle/>
          <a:p>
            <a:pPr lvl="0">
              <a:spcAft>
                <a:spcPts val="451"/>
              </a:spcAft>
              <a:buSzPct val="100000"/>
            </a:pPr>
            <a:r>
              <a:rPr lang="fr-CA" sz="675" dirty="0">
                <a:solidFill>
                  <a:prstClr val="black"/>
                </a:solidFill>
              </a:rPr>
              <a:t>© 2016. For information, contact Deloitte Touche Tohmatsu Limited</a:t>
            </a:r>
          </a:p>
        </p:txBody>
      </p:sp>
      <p:sp>
        <p:nvSpPr>
          <p:cNvPr id="68" name="Slide Number Placeholder 5"/>
          <p:cNvSpPr>
            <a:spLocks noGrp="1"/>
          </p:cNvSpPr>
          <p:nvPr>
            <p:ph type="sldNum" sz="quarter" idx="4294967295"/>
          </p:nvPr>
        </p:nvSpPr>
        <p:spPr>
          <a:xfrm>
            <a:off x="7971997" y="4758251"/>
            <a:ext cx="792088" cy="189000"/>
          </a:xfrm>
          <a:prstGeom prst="rect">
            <a:avLst/>
          </a:prstGeom>
        </p:spPr>
        <p:txBody>
          <a:bodyPr/>
          <a:lstStyle/>
          <a:p>
            <a:fld id="{95CC1D26-A9BD-4BDE-BDD9-08EDBAE96860}" type="slidenum">
              <a:rPr lang="en-GB" smtClean="0"/>
              <a:pPr/>
              <a:t>4</a:t>
            </a:fld>
            <a:endParaRPr lang="en-GB" dirty="0"/>
          </a:p>
        </p:txBody>
      </p:sp>
      <p:sp>
        <p:nvSpPr>
          <p:cNvPr id="69" name="TextBox 68"/>
          <p:cNvSpPr txBox="1"/>
          <p:nvPr/>
        </p:nvSpPr>
        <p:spPr>
          <a:xfrm>
            <a:off x="5959955" y="1700171"/>
            <a:ext cx="801280" cy="533223"/>
          </a:xfrm>
          <a:prstGeom prst="rect">
            <a:avLst/>
          </a:prstGeom>
        </p:spPr>
        <p:txBody>
          <a:bodyPr wrap="square" lIns="0" rIns="0" rtlCol="0">
            <a:spAutoFit/>
          </a:bodyPr>
          <a:lstStyle/>
          <a:p>
            <a:pPr algn="ctr">
              <a:spcBef>
                <a:spcPts val="818"/>
              </a:spcBef>
            </a:pPr>
            <a:r>
              <a:rPr lang="en-US" sz="955" dirty="0">
                <a:solidFill>
                  <a:prstClr val="white"/>
                </a:solidFill>
                <a:cs typeface="Arial" pitchFamily="34" charset="0"/>
              </a:rPr>
              <a:t>Drive Operational Excellence</a:t>
            </a:r>
          </a:p>
        </p:txBody>
      </p:sp>
      <p:sp>
        <p:nvSpPr>
          <p:cNvPr id="70" name="Freeform 58"/>
          <p:cNvSpPr>
            <a:spLocks/>
          </p:cNvSpPr>
          <p:nvPr/>
        </p:nvSpPr>
        <p:spPr bwMode="auto">
          <a:xfrm>
            <a:off x="6813190" y="1764099"/>
            <a:ext cx="414293" cy="414293"/>
          </a:xfrm>
          <a:custGeom>
            <a:avLst/>
            <a:gdLst>
              <a:gd name="T0" fmla="*/ 47 w 96"/>
              <a:gd name="T1" fmla="*/ 0 h 96"/>
              <a:gd name="T2" fmla="*/ 60 w 96"/>
              <a:gd name="T3" fmla="*/ 37 h 96"/>
              <a:gd name="T4" fmla="*/ 96 w 96"/>
              <a:gd name="T5" fmla="*/ 37 h 96"/>
              <a:gd name="T6" fmla="*/ 67 w 96"/>
              <a:gd name="T7" fmla="*/ 59 h 96"/>
              <a:gd name="T8" fmla="*/ 77 w 96"/>
              <a:gd name="T9" fmla="*/ 96 h 96"/>
              <a:gd name="T10" fmla="*/ 47 w 96"/>
              <a:gd name="T11" fmla="*/ 74 h 96"/>
              <a:gd name="T12" fmla="*/ 19 w 96"/>
              <a:gd name="T13" fmla="*/ 96 h 96"/>
              <a:gd name="T14" fmla="*/ 29 w 96"/>
              <a:gd name="T15" fmla="*/ 59 h 96"/>
              <a:gd name="T16" fmla="*/ 0 w 96"/>
              <a:gd name="T17" fmla="*/ 37 h 96"/>
              <a:gd name="T18" fmla="*/ 34 w 96"/>
              <a:gd name="T19" fmla="*/ 37 h 96"/>
              <a:gd name="T20" fmla="*/ 47 w 96"/>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47" y="0"/>
                </a:moveTo>
                <a:lnTo>
                  <a:pt x="60" y="37"/>
                </a:lnTo>
                <a:lnTo>
                  <a:pt x="96" y="37"/>
                </a:lnTo>
                <a:lnTo>
                  <a:pt x="67" y="59"/>
                </a:lnTo>
                <a:lnTo>
                  <a:pt x="77" y="96"/>
                </a:lnTo>
                <a:lnTo>
                  <a:pt x="47" y="74"/>
                </a:lnTo>
                <a:lnTo>
                  <a:pt x="19" y="96"/>
                </a:lnTo>
                <a:lnTo>
                  <a:pt x="29" y="59"/>
                </a:lnTo>
                <a:lnTo>
                  <a:pt x="0" y="37"/>
                </a:lnTo>
                <a:lnTo>
                  <a:pt x="34" y="37"/>
                </a:lnTo>
                <a:lnTo>
                  <a:pt x="47" y="0"/>
                </a:lnTo>
                <a:close/>
              </a:path>
            </a:pathLst>
          </a:custGeom>
          <a:solidFill>
            <a:schemeClr val="bg2"/>
          </a:solidFill>
          <a:ln>
            <a:noFill/>
          </a:ln>
        </p:spPr>
        <p:txBody>
          <a:bodyPr vert="horz" wrap="square" lIns="62345" tIns="31173" rIns="62345" bIns="31173" numCol="1" anchor="t" anchorCtr="0" compatLnSpc="1">
            <a:prstTxWarp prst="textNoShape">
              <a:avLst/>
            </a:prstTxWarp>
          </a:bodyPr>
          <a:lstStyle/>
          <a:p>
            <a:endParaRPr lang="en-US" sz="955" dirty="0">
              <a:solidFill>
                <a:prstClr val="black"/>
              </a:solidFill>
            </a:endParaRPr>
          </a:p>
        </p:txBody>
      </p:sp>
      <p:sp>
        <p:nvSpPr>
          <p:cNvPr id="71" name="Rectangle 70"/>
          <p:cNvSpPr/>
          <p:nvPr/>
        </p:nvSpPr>
        <p:spPr bwMode="auto">
          <a:xfrm>
            <a:off x="3810000" y="1805510"/>
            <a:ext cx="1951517" cy="3258058"/>
          </a:xfrm>
          <a:prstGeom prst="rect">
            <a:avLst/>
          </a:prstGeom>
          <a:noFill/>
          <a:ln w="6350" cap="flat" cmpd="sng" algn="ctr">
            <a:noFill/>
            <a:prstDash val="solid"/>
            <a:round/>
            <a:headEnd type="none" w="med" len="med"/>
            <a:tailEnd type="none" w="med" len="med"/>
          </a:ln>
          <a:effectLst/>
        </p:spPr>
        <p:txBody>
          <a:bodyPr vert="horz" wrap="square" lIns="31173" tIns="31173" rIns="31173" bIns="31173" numCol="1" rtlCol="0" anchor="t" anchorCtr="0" compatLnSpc="1">
            <a:prstTxWarp prst="textNoShape">
              <a:avLst/>
            </a:prstTxWarp>
            <a:noAutofit/>
          </a:bodyPr>
          <a:lstStyle/>
          <a:p>
            <a:pPr algn="ctr">
              <a:spcAft>
                <a:spcPts val="409"/>
              </a:spcAft>
            </a:pPr>
            <a:r>
              <a:rPr lang="en-US" sz="820" b="1" dirty="0">
                <a:solidFill>
                  <a:schemeClr val="tx2"/>
                </a:solidFill>
              </a:rPr>
              <a:t>Core Valuation Platform enhanced</a:t>
            </a:r>
          </a:p>
          <a:p>
            <a:pPr algn="ctr">
              <a:spcAft>
                <a:spcPts val="409"/>
              </a:spcAft>
            </a:pPr>
            <a:r>
              <a:rPr lang="en-US" sz="820" b="1" dirty="0">
                <a:solidFill>
                  <a:schemeClr val="tx2"/>
                </a:solidFill>
              </a:rPr>
              <a:t>More Member Firms, More Reporting efficiencies, more </a:t>
            </a:r>
            <a:r>
              <a:rPr lang="en-US" sz="820" b="1" dirty="0" smtClean="0">
                <a:solidFill>
                  <a:schemeClr val="tx2"/>
                </a:solidFill>
              </a:rPr>
              <a:t>insights, Globalization</a:t>
            </a:r>
            <a:endParaRPr lang="en-US" sz="820" b="1" dirty="0">
              <a:solidFill>
                <a:schemeClr val="tx2"/>
              </a:solidFill>
            </a:endParaRPr>
          </a:p>
          <a:p>
            <a:pPr>
              <a:spcAft>
                <a:spcPts val="409"/>
              </a:spcAft>
            </a:pPr>
            <a:endParaRPr lang="en-US" sz="800" dirty="0" smtClean="0"/>
          </a:p>
          <a:p>
            <a:pPr>
              <a:spcAft>
                <a:spcPts val="409"/>
              </a:spcAft>
            </a:pPr>
            <a:r>
              <a:rPr lang="en-US" sz="820" dirty="0" smtClean="0"/>
              <a:t>Tool to provide </a:t>
            </a:r>
            <a:r>
              <a:rPr lang="en-US" sz="820" dirty="0"/>
              <a:t>benefits to </a:t>
            </a:r>
            <a:r>
              <a:rPr lang="en-US" sz="820" dirty="0" smtClean="0"/>
              <a:t>min. 5 </a:t>
            </a:r>
            <a:r>
              <a:rPr lang="en-US" sz="820" dirty="0"/>
              <a:t>additional </a:t>
            </a:r>
            <a:r>
              <a:rPr lang="en-US" sz="820" dirty="0" smtClean="0"/>
              <a:t>member </a:t>
            </a:r>
            <a:r>
              <a:rPr lang="en-US" sz="820" dirty="0"/>
              <a:t>firms with expanded use of reports.  Both </a:t>
            </a:r>
            <a:r>
              <a:rPr lang="en-US" sz="820" dirty="0" smtClean="0"/>
              <a:t>traditional </a:t>
            </a:r>
            <a:r>
              <a:rPr lang="en-US" sz="820" dirty="0"/>
              <a:t>valuation reports delivered to clients and insights </a:t>
            </a:r>
            <a:r>
              <a:rPr lang="en-US" sz="820" dirty="0" smtClean="0"/>
              <a:t>reports (40+) </a:t>
            </a:r>
            <a:r>
              <a:rPr lang="en-US" sz="820" dirty="0"/>
              <a:t>based on a benchmarking </a:t>
            </a:r>
            <a:r>
              <a:rPr lang="en-US" sz="820" dirty="0" smtClean="0"/>
              <a:t>de-idenitified database </a:t>
            </a:r>
            <a:r>
              <a:rPr lang="en-US" sz="820" dirty="0"/>
              <a:t>in </a:t>
            </a:r>
            <a:r>
              <a:rPr lang="en-US" sz="820" dirty="0" smtClean="0"/>
              <a:t>Tableau</a:t>
            </a:r>
            <a:r>
              <a:rPr lang="en-US" sz="820" dirty="0"/>
              <a:t>.</a:t>
            </a:r>
          </a:p>
          <a:p>
            <a:pPr marL="116899" indent="-116899">
              <a:spcAft>
                <a:spcPts val="409"/>
              </a:spcAft>
              <a:buFont typeface="Arial" panose="020B0604020202020204" pitchFamily="34" charset="0"/>
              <a:buChar char="•"/>
            </a:pPr>
            <a:r>
              <a:rPr lang="en-US" sz="820" dirty="0"/>
              <a:t>Further standardized valuation models.</a:t>
            </a:r>
          </a:p>
          <a:p>
            <a:pPr marL="116899" indent="-116899">
              <a:spcAft>
                <a:spcPts val="409"/>
              </a:spcAft>
              <a:buFont typeface="Arial" panose="020B0604020202020204" pitchFamily="34" charset="0"/>
              <a:buChar char="•"/>
            </a:pPr>
            <a:r>
              <a:rPr lang="en-US" sz="820" dirty="0" smtClean="0"/>
              <a:t>Additional usability enhancements</a:t>
            </a:r>
          </a:p>
          <a:p>
            <a:pPr marL="116899" indent="-116899">
              <a:spcAft>
                <a:spcPts val="409"/>
              </a:spcAft>
              <a:buFont typeface="Arial" panose="020B0604020202020204" pitchFamily="34" charset="0"/>
              <a:buChar char="•"/>
            </a:pPr>
            <a:r>
              <a:rPr lang="en-US" sz="820" dirty="0" smtClean="0"/>
              <a:t>Fully </a:t>
            </a:r>
            <a:r>
              <a:rPr lang="en-US" sz="820" dirty="0"/>
              <a:t>automated report generation</a:t>
            </a:r>
          </a:p>
          <a:p>
            <a:pPr marL="116899" indent="-116899">
              <a:spcAft>
                <a:spcPts val="409"/>
              </a:spcAft>
              <a:buFont typeface="Arial" panose="020B0604020202020204" pitchFamily="34" charset="0"/>
              <a:buChar char="•"/>
            </a:pPr>
            <a:r>
              <a:rPr lang="en-US" sz="820" dirty="0"/>
              <a:t>A data asset that acts as a proprietary resource for generating benchmarks, research, and informed assumptions.</a:t>
            </a:r>
          </a:p>
          <a:p>
            <a:pPr marL="116899" indent="-116899">
              <a:spcAft>
                <a:spcPts val="409"/>
              </a:spcAft>
              <a:buFont typeface="Arial" panose="020B0604020202020204" pitchFamily="34" charset="0"/>
              <a:buChar char="•"/>
            </a:pPr>
            <a:r>
              <a:rPr lang="en-US" sz="820" dirty="0"/>
              <a:t>Clear, understandable, and attractive data visualization and analytics that facilitate greater insight</a:t>
            </a:r>
            <a:r>
              <a:rPr lang="en-US" sz="820" dirty="0" smtClean="0"/>
              <a:t>.</a:t>
            </a:r>
          </a:p>
        </p:txBody>
      </p:sp>
      <p:sp>
        <p:nvSpPr>
          <p:cNvPr id="72" name="TextBox 71"/>
          <p:cNvSpPr txBox="1"/>
          <p:nvPr/>
        </p:nvSpPr>
        <p:spPr>
          <a:xfrm>
            <a:off x="158765" y="1694427"/>
            <a:ext cx="1740101" cy="3496698"/>
          </a:xfrm>
          <a:prstGeom prst="rect">
            <a:avLst/>
          </a:prstGeom>
          <a:noFill/>
        </p:spPr>
        <p:txBody>
          <a:bodyPr wrap="square" lIns="31173" tIns="31173" rIns="31173" bIns="31173" rtlCol="0">
            <a:noAutofit/>
          </a:bodyPr>
          <a:lstStyle/>
          <a:p>
            <a:pPr algn="ctr">
              <a:spcAft>
                <a:spcPts val="409"/>
              </a:spcAft>
            </a:pPr>
            <a:endParaRPr lang="en-US" sz="818" b="1" dirty="0" smtClean="0">
              <a:solidFill>
                <a:schemeClr val="tx2"/>
              </a:solidFill>
            </a:endParaRPr>
          </a:p>
          <a:p>
            <a:pPr algn="ctr">
              <a:spcAft>
                <a:spcPts val="409"/>
              </a:spcAft>
            </a:pPr>
            <a:r>
              <a:rPr lang="en-US" sz="818" b="1" dirty="0" smtClean="0">
                <a:solidFill>
                  <a:schemeClr val="tx2"/>
                </a:solidFill>
              </a:rPr>
              <a:t>Core </a:t>
            </a:r>
            <a:r>
              <a:rPr lang="en-US" sz="818" b="1" dirty="0">
                <a:solidFill>
                  <a:schemeClr val="tx2"/>
                </a:solidFill>
              </a:rPr>
              <a:t>Valuation Platform</a:t>
            </a:r>
          </a:p>
          <a:p>
            <a:pPr algn="ctr">
              <a:spcAft>
                <a:spcPts val="409"/>
              </a:spcAft>
            </a:pPr>
            <a:r>
              <a:rPr lang="en-US" sz="818" b="1" dirty="0">
                <a:solidFill>
                  <a:schemeClr val="tx2"/>
                </a:solidFill>
              </a:rPr>
              <a:t>US/Canada</a:t>
            </a:r>
          </a:p>
          <a:p>
            <a:pPr>
              <a:spcAft>
                <a:spcPts val="409"/>
              </a:spcAft>
            </a:pPr>
            <a:endParaRPr lang="en-US" sz="800" dirty="0" smtClean="0">
              <a:solidFill>
                <a:schemeClr val="tx2"/>
              </a:solidFill>
            </a:endParaRPr>
          </a:p>
          <a:p>
            <a:pPr>
              <a:spcAft>
                <a:spcPts val="409"/>
              </a:spcAft>
            </a:pPr>
            <a:r>
              <a:rPr lang="en-US" sz="820" dirty="0" smtClean="0">
                <a:solidFill>
                  <a:schemeClr val="tx2"/>
                </a:solidFill>
              </a:rPr>
              <a:t>The </a:t>
            </a:r>
            <a:r>
              <a:rPr lang="en-US" sz="820" dirty="0">
                <a:solidFill>
                  <a:schemeClr val="tx2"/>
                </a:solidFill>
              </a:rPr>
              <a:t>tool will create value for stakeholders by increasing the productivity of practitioners. This would reverse the trend of doing more work to create the same value.</a:t>
            </a:r>
          </a:p>
          <a:p>
            <a:pPr marL="118458" indent="-118458">
              <a:spcAft>
                <a:spcPts val="409"/>
              </a:spcAft>
              <a:buFont typeface="Arial" panose="020B0604020202020204" pitchFamily="34" charset="0"/>
              <a:buChar char="•"/>
            </a:pPr>
            <a:r>
              <a:rPr lang="en-US" sz="820" dirty="0" smtClean="0">
                <a:solidFill>
                  <a:schemeClr val="tx2"/>
                </a:solidFill>
              </a:rPr>
              <a:t>Consolidating </a:t>
            </a:r>
            <a:r>
              <a:rPr lang="en-US" sz="820" dirty="0">
                <a:solidFill>
                  <a:schemeClr val="tx2"/>
                </a:solidFill>
              </a:rPr>
              <a:t>and standardizing inputs</a:t>
            </a:r>
          </a:p>
          <a:p>
            <a:pPr marL="118458" indent="-118458">
              <a:spcAft>
                <a:spcPts val="409"/>
              </a:spcAft>
              <a:buFont typeface="Arial" panose="020B0604020202020204" pitchFamily="34" charset="0"/>
              <a:buChar char="•"/>
            </a:pPr>
            <a:r>
              <a:rPr lang="en-US" sz="820" dirty="0">
                <a:solidFill>
                  <a:schemeClr val="tx2"/>
                </a:solidFill>
              </a:rPr>
              <a:t>Building a data asset that acts as a proprietary resource for generating benchmarks, research, and</a:t>
            </a:r>
            <a:br>
              <a:rPr lang="en-US" sz="820" dirty="0">
                <a:solidFill>
                  <a:schemeClr val="tx2"/>
                </a:solidFill>
              </a:rPr>
            </a:br>
            <a:r>
              <a:rPr lang="en-US" sz="820" dirty="0">
                <a:solidFill>
                  <a:schemeClr val="tx2"/>
                </a:solidFill>
              </a:rPr>
              <a:t>informed assumptions</a:t>
            </a:r>
          </a:p>
          <a:p>
            <a:pPr marL="118458" indent="-118458">
              <a:spcAft>
                <a:spcPts val="409"/>
              </a:spcAft>
              <a:buFont typeface="Arial" panose="020B0604020202020204" pitchFamily="34" charset="0"/>
              <a:buChar char="•"/>
            </a:pPr>
            <a:r>
              <a:rPr lang="en-US" sz="820" dirty="0">
                <a:solidFill>
                  <a:schemeClr val="tx2"/>
                </a:solidFill>
              </a:rPr>
              <a:t>Standardizing methodology and best practices for consistent delivery</a:t>
            </a:r>
          </a:p>
          <a:p>
            <a:pPr marL="118458" indent="-118458">
              <a:spcAft>
                <a:spcPts val="409"/>
              </a:spcAft>
              <a:buFont typeface="Arial" panose="020B0604020202020204" pitchFamily="34" charset="0"/>
              <a:buChar char="•"/>
            </a:pPr>
            <a:r>
              <a:rPr lang="en-US" sz="820" dirty="0">
                <a:solidFill>
                  <a:schemeClr val="tx2"/>
                </a:solidFill>
              </a:rPr>
              <a:t>Reducing time spent on mechanical tasks like updating report when valuation models change</a:t>
            </a:r>
          </a:p>
        </p:txBody>
      </p:sp>
      <p:sp>
        <p:nvSpPr>
          <p:cNvPr id="73" name="TextBox 72"/>
          <p:cNvSpPr txBox="1"/>
          <p:nvPr/>
        </p:nvSpPr>
        <p:spPr>
          <a:xfrm>
            <a:off x="1981200" y="1907507"/>
            <a:ext cx="1600200" cy="2376612"/>
          </a:xfrm>
          <a:prstGeom prst="rect">
            <a:avLst/>
          </a:prstGeom>
          <a:noFill/>
        </p:spPr>
        <p:txBody>
          <a:bodyPr wrap="square" lIns="31173" tIns="31173" rIns="31173" bIns="31173" rtlCol="0">
            <a:noAutofit/>
          </a:bodyPr>
          <a:lstStyle/>
          <a:p>
            <a:pPr algn="ctr" fontAlgn="b">
              <a:defRPr/>
            </a:pPr>
            <a:r>
              <a:rPr lang="en-US" sz="820" b="1" dirty="0" smtClean="0"/>
              <a:t>Maturity &amp; Adoption  </a:t>
            </a:r>
          </a:p>
          <a:p>
            <a:pPr algn="ctr" fontAlgn="b">
              <a:defRPr/>
            </a:pPr>
            <a:r>
              <a:rPr lang="en-US" sz="820" b="1" dirty="0" smtClean="0"/>
              <a:t>Enriched </a:t>
            </a:r>
            <a:r>
              <a:rPr lang="en-US" sz="820" b="1" dirty="0"/>
              <a:t>data and usability enhancements with </a:t>
            </a:r>
            <a:r>
              <a:rPr lang="en-US" sz="820" b="1" dirty="0" smtClean="0"/>
              <a:t>initial deployment </a:t>
            </a:r>
            <a:r>
              <a:rPr lang="en-US" sz="820" b="1" dirty="0"/>
              <a:t>and </a:t>
            </a:r>
            <a:r>
              <a:rPr lang="en-US" sz="820" b="1" dirty="0" smtClean="0"/>
              <a:t>adoption</a:t>
            </a:r>
          </a:p>
          <a:p>
            <a:pPr fontAlgn="b">
              <a:defRPr/>
            </a:pPr>
            <a:endParaRPr lang="en-US" sz="900" dirty="0" smtClean="0"/>
          </a:p>
          <a:p>
            <a:pPr fontAlgn="b">
              <a:defRPr/>
            </a:pPr>
            <a:r>
              <a:rPr lang="en-US" sz="900" b="1" dirty="0" smtClean="0"/>
              <a:t> </a:t>
            </a:r>
            <a:r>
              <a:rPr lang="en-US" sz="800" b="1" dirty="0" smtClean="0"/>
              <a:t>Mature Phase 1:</a:t>
            </a:r>
          </a:p>
          <a:p>
            <a:pPr marL="171450" indent="-171450" fontAlgn="b">
              <a:buFont typeface="Arial" panose="020B0604020202020204" pitchFamily="34" charset="0"/>
              <a:buChar char="•"/>
              <a:defRPr/>
            </a:pPr>
            <a:r>
              <a:rPr lang="en-US" sz="820" dirty="0" smtClean="0"/>
              <a:t>Central reporting via Tableau</a:t>
            </a:r>
          </a:p>
          <a:p>
            <a:pPr marL="171450" indent="-171450" fontAlgn="b">
              <a:buFont typeface="Arial" panose="020B0604020202020204" pitchFamily="34" charset="0"/>
              <a:buChar char="•"/>
              <a:defRPr/>
            </a:pPr>
            <a:r>
              <a:rPr lang="en-US" sz="820" dirty="0" smtClean="0"/>
              <a:t>Data enrichment</a:t>
            </a:r>
          </a:p>
          <a:p>
            <a:pPr marL="171450" indent="-171450" fontAlgn="b">
              <a:buFont typeface="Arial" panose="020B0604020202020204" pitchFamily="34" charset="0"/>
              <a:buChar char="•"/>
              <a:defRPr/>
            </a:pPr>
            <a:r>
              <a:rPr lang="en-US" sz="820" dirty="0" smtClean="0"/>
              <a:t>Enriched reporting and insights</a:t>
            </a:r>
          </a:p>
          <a:p>
            <a:pPr marL="171450" indent="-171450" fontAlgn="b">
              <a:buFont typeface="Arial" panose="020B0604020202020204" pitchFamily="34" charset="0"/>
              <a:buChar char="•"/>
              <a:defRPr/>
            </a:pPr>
            <a:r>
              <a:rPr lang="en-US" sz="820" dirty="0" smtClean="0"/>
              <a:t>Release 1.1 - Additional feature/function and usability enhancements</a:t>
            </a:r>
          </a:p>
          <a:p>
            <a:pPr marL="171450" indent="-171450" fontAlgn="b">
              <a:buFont typeface="Arial" panose="020B0604020202020204" pitchFamily="34" charset="0"/>
              <a:buChar char="•"/>
              <a:defRPr/>
            </a:pPr>
            <a:r>
              <a:rPr lang="en-US" sz="820" dirty="0" smtClean="0"/>
              <a:t>Accelerate deployment: US and CA rollout</a:t>
            </a:r>
          </a:p>
          <a:p>
            <a:pPr marL="171450" indent="-171450" fontAlgn="b">
              <a:buFont typeface="Arial" panose="020B0604020202020204" pitchFamily="34" charset="0"/>
              <a:buChar char="•"/>
              <a:defRPr/>
            </a:pPr>
            <a:r>
              <a:rPr lang="en-US" sz="820" dirty="0" smtClean="0"/>
              <a:t>Accelerate adoption</a:t>
            </a:r>
            <a:endParaRPr lang="en-US" sz="820" dirty="0"/>
          </a:p>
        </p:txBody>
      </p:sp>
      <p:sp>
        <p:nvSpPr>
          <p:cNvPr id="75" name="AutoShape 3"/>
          <p:cNvSpPr>
            <a:spLocks noChangeArrowheads="1"/>
          </p:cNvSpPr>
          <p:nvPr/>
        </p:nvSpPr>
        <p:spPr bwMode="gray">
          <a:xfrm>
            <a:off x="159572" y="1462180"/>
            <a:ext cx="1748049" cy="329290"/>
          </a:xfrm>
          <a:prstGeom prst="chevron">
            <a:avLst>
              <a:gd name="adj" fmla="val 34952"/>
            </a:avLst>
          </a:prstGeom>
          <a:solidFill>
            <a:schemeClr val="accent1"/>
          </a:solidFill>
          <a:ln w="12700" cap="rnd" algn="ctr">
            <a:noFill/>
            <a:miter lim="800000"/>
            <a:headEnd/>
            <a:tailEnd/>
          </a:ln>
        </p:spPr>
        <p:txBody>
          <a:bodyPr lIns="80818" tIns="80818" rIns="80818" bIns="80818" anchor="ctr" anchorCtr="0"/>
          <a:lstStyle/>
          <a:p>
            <a:pPr algn="ctr">
              <a:lnSpc>
                <a:spcPct val="106000"/>
              </a:lnSpc>
              <a:defRPr/>
            </a:pPr>
            <a:r>
              <a:rPr lang="en-US" sz="1091" b="1" dirty="0">
                <a:solidFill>
                  <a:prstClr val="white"/>
                </a:solidFill>
                <a:latin typeface="Arial"/>
              </a:rPr>
              <a:t>Phase </a:t>
            </a:r>
            <a:r>
              <a:rPr lang="en-US" sz="1091" b="1" dirty="0" smtClean="0">
                <a:solidFill>
                  <a:prstClr val="white"/>
                </a:solidFill>
                <a:latin typeface="Arial"/>
              </a:rPr>
              <a:t>1.1: </a:t>
            </a:r>
          </a:p>
          <a:p>
            <a:pPr algn="ctr">
              <a:lnSpc>
                <a:spcPct val="106000"/>
              </a:lnSpc>
              <a:defRPr/>
            </a:pPr>
            <a:r>
              <a:rPr lang="en-US" sz="1091" b="1" dirty="0" smtClean="0">
                <a:solidFill>
                  <a:prstClr val="white"/>
                </a:solidFill>
                <a:latin typeface="Arial"/>
              </a:rPr>
              <a:t>FY15-FY16</a:t>
            </a:r>
            <a:endParaRPr lang="en-US" sz="1091" b="1" dirty="0">
              <a:solidFill>
                <a:prstClr val="white"/>
              </a:solidFill>
              <a:latin typeface="Arial"/>
            </a:endParaRPr>
          </a:p>
        </p:txBody>
      </p:sp>
      <p:sp>
        <p:nvSpPr>
          <p:cNvPr id="76" name="AutoShape 5"/>
          <p:cNvSpPr>
            <a:spLocks noChangeArrowheads="1"/>
          </p:cNvSpPr>
          <p:nvPr/>
        </p:nvSpPr>
        <p:spPr bwMode="gray">
          <a:xfrm>
            <a:off x="1959576" y="1470346"/>
            <a:ext cx="1630898" cy="342676"/>
          </a:xfrm>
          <a:prstGeom prst="chevron">
            <a:avLst>
              <a:gd name="adj" fmla="val 34975"/>
            </a:avLst>
          </a:prstGeom>
          <a:solidFill>
            <a:schemeClr val="accent3"/>
          </a:solidFill>
          <a:ln w="12700" cap="rnd" algn="ctr">
            <a:noFill/>
            <a:miter lim="800000"/>
            <a:headEnd/>
            <a:tailEnd/>
          </a:ln>
        </p:spPr>
        <p:txBody>
          <a:bodyPr lIns="80818" tIns="80818" rIns="80818" bIns="80818" anchor="ctr" anchorCtr="0"/>
          <a:lstStyle/>
          <a:p>
            <a:pPr algn="ctr">
              <a:lnSpc>
                <a:spcPct val="106000"/>
              </a:lnSpc>
              <a:defRPr/>
            </a:pPr>
            <a:r>
              <a:rPr lang="en-US" sz="1091" b="1" dirty="0">
                <a:solidFill>
                  <a:prstClr val="white"/>
                </a:solidFill>
                <a:latin typeface="Arial"/>
              </a:rPr>
              <a:t>Phase </a:t>
            </a:r>
            <a:r>
              <a:rPr lang="en-US" sz="1091" b="1" dirty="0" smtClean="0">
                <a:solidFill>
                  <a:prstClr val="white"/>
                </a:solidFill>
                <a:latin typeface="Arial"/>
              </a:rPr>
              <a:t>1.2: FY16</a:t>
            </a:r>
            <a:endParaRPr lang="en-US" sz="1091" b="1" dirty="0">
              <a:solidFill>
                <a:prstClr val="white"/>
              </a:solidFill>
              <a:latin typeface="Arial"/>
            </a:endParaRPr>
          </a:p>
        </p:txBody>
      </p:sp>
      <p:sp>
        <p:nvSpPr>
          <p:cNvPr id="77" name="AutoShape 4"/>
          <p:cNvSpPr>
            <a:spLocks noChangeArrowheads="1"/>
          </p:cNvSpPr>
          <p:nvPr/>
        </p:nvSpPr>
        <p:spPr bwMode="gray">
          <a:xfrm>
            <a:off x="3863968" y="1461447"/>
            <a:ext cx="1766332" cy="334144"/>
          </a:xfrm>
          <a:prstGeom prst="chevron">
            <a:avLst>
              <a:gd name="adj" fmla="val 34975"/>
            </a:avLst>
          </a:prstGeom>
          <a:solidFill>
            <a:schemeClr val="accent2"/>
          </a:solidFill>
          <a:ln w="12700" cap="rnd" algn="ctr">
            <a:noFill/>
            <a:miter lim="800000"/>
            <a:headEnd/>
            <a:tailEnd/>
          </a:ln>
        </p:spPr>
        <p:txBody>
          <a:bodyPr lIns="80818" tIns="80818" rIns="80818" bIns="80818" anchor="ctr" anchorCtr="0"/>
          <a:lstStyle/>
          <a:p>
            <a:pPr algn="ctr" defTabSz="831281">
              <a:lnSpc>
                <a:spcPct val="106000"/>
              </a:lnSpc>
              <a:defRPr/>
            </a:pPr>
            <a:r>
              <a:rPr lang="en-US" sz="1091" b="1" kern="0" dirty="0">
                <a:solidFill>
                  <a:prstClr val="white"/>
                </a:solidFill>
                <a:latin typeface="Arial"/>
              </a:rPr>
              <a:t>Phase </a:t>
            </a:r>
            <a:r>
              <a:rPr lang="en-US" sz="1091" b="1" kern="0" dirty="0" smtClean="0">
                <a:solidFill>
                  <a:prstClr val="white"/>
                </a:solidFill>
                <a:latin typeface="Arial"/>
              </a:rPr>
              <a:t>2.1: FY17</a:t>
            </a:r>
            <a:endParaRPr lang="en-US" sz="1091" b="1" kern="0" dirty="0">
              <a:solidFill>
                <a:prstClr val="white"/>
              </a:solidFill>
              <a:latin typeface="Arial"/>
            </a:endParaRPr>
          </a:p>
        </p:txBody>
      </p:sp>
      <p:sp>
        <p:nvSpPr>
          <p:cNvPr id="78" name="Rectangle 77"/>
          <p:cNvSpPr/>
          <p:nvPr/>
        </p:nvSpPr>
        <p:spPr>
          <a:xfrm>
            <a:off x="113326" y="1304925"/>
            <a:ext cx="3523186" cy="479614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73" dirty="0"/>
          </a:p>
        </p:txBody>
      </p:sp>
      <p:sp>
        <p:nvSpPr>
          <p:cNvPr id="79" name="Rectangle 78"/>
          <p:cNvSpPr/>
          <p:nvPr/>
        </p:nvSpPr>
        <p:spPr>
          <a:xfrm>
            <a:off x="3718846" y="1304925"/>
            <a:ext cx="5370395" cy="4796142"/>
          </a:xfrm>
          <a:prstGeom prst="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73" dirty="0"/>
          </a:p>
        </p:txBody>
      </p:sp>
      <p:sp>
        <p:nvSpPr>
          <p:cNvPr id="80" name="Rectangle 79"/>
          <p:cNvSpPr/>
          <p:nvPr/>
        </p:nvSpPr>
        <p:spPr bwMode="auto">
          <a:xfrm>
            <a:off x="5915595" y="1851318"/>
            <a:ext cx="2059093" cy="3172958"/>
          </a:xfrm>
          <a:prstGeom prst="rect">
            <a:avLst/>
          </a:prstGeom>
          <a:noFill/>
          <a:ln w="6350" cap="flat" cmpd="sng" algn="ctr">
            <a:noFill/>
            <a:prstDash val="solid"/>
            <a:round/>
            <a:headEnd type="none" w="med" len="med"/>
            <a:tailEnd type="none" w="med" len="med"/>
          </a:ln>
          <a:effectLst/>
        </p:spPr>
        <p:txBody>
          <a:bodyPr vert="horz" wrap="square" lIns="31173" tIns="31173" rIns="31173" bIns="31173" numCol="1" rtlCol="0" anchor="t" anchorCtr="0" compatLnSpc="1">
            <a:prstTxWarp prst="textNoShape">
              <a:avLst/>
            </a:prstTxWarp>
            <a:noAutofit/>
          </a:bodyPr>
          <a:lstStyle/>
          <a:p>
            <a:pPr algn="ctr">
              <a:spcAft>
                <a:spcPts val="450"/>
              </a:spcAft>
            </a:pPr>
            <a:r>
              <a:rPr lang="en-US" sz="820" b="1" dirty="0" smtClean="0">
                <a:solidFill>
                  <a:schemeClr val="tx2"/>
                </a:solidFill>
              </a:rPr>
              <a:t>External client </a:t>
            </a:r>
            <a:r>
              <a:rPr lang="en-US" sz="820" b="1" dirty="0">
                <a:solidFill>
                  <a:schemeClr val="tx2"/>
                </a:solidFill>
              </a:rPr>
              <a:t>stakeholders</a:t>
            </a:r>
          </a:p>
          <a:p>
            <a:pPr>
              <a:spcAft>
                <a:spcPts val="450"/>
              </a:spcAft>
            </a:pPr>
            <a:endParaRPr lang="en-US" sz="800" dirty="0" smtClean="0"/>
          </a:p>
          <a:p>
            <a:pPr>
              <a:spcAft>
                <a:spcPts val="450"/>
              </a:spcAft>
            </a:pPr>
            <a:r>
              <a:rPr lang="en-US" sz="820" dirty="0" smtClean="0"/>
              <a:t>The </a:t>
            </a:r>
            <a:r>
              <a:rPr lang="en-US" sz="820" dirty="0"/>
              <a:t>tool will focus on providing value, primarily for the client, through better experiences, easy-to-use applications, to deepen relationships and drive more valuation work.</a:t>
            </a:r>
          </a:p>
          <a:p>
            <a:pPr marL="128588" indent="-128588">
              <a:spcAft>
                <a:spcPts val="450"/>
              </a:spcAft>
              <a:buFont typeface="Arial" panose="020B0604020202020204" pitchFamily="34" charset="0"/>
              <a:buChar char="•"/>
            </a:pPr>
            <a:r>
              <a:rPr lang="en-US" sz="820" dirty="0"/>
              <a:t>Dynamic client collaboration site with intuitive User interface (beyond DOL)</a:t>
            </a:r>
          </a:p>
          <a:p>
            <a:pPr marL="128588" indent="-128588">
              <a:spcAft>
                <a:spcPts val="450"/>
              </a:spcAft>
              <a:buFont typeface="Arial" panose="020B0604020202020204" pitchFamily="34" charset="0"/>
              <a:buChar char="•"/>
            </a:pPr>
            <a:r>
              <a:rPr lang="en-US" sz="820" dirty="0" smtClean="0"/>
              <a:t>Access </a:t>
            </a:r>
            <a:r>
              <a:rPr lang="en-US" sz="820" dirty="0"/>
              <a:t>to an online marketplace</a:t>
            </a:r>
            <a:br>
              <a:rPr lang="en-US" sz="820" dirty="0"/>
            </a:br>
            <a:r>
              <a:rPr lang="en-US" sz="820" dirty="0"/>
              <a:t>for clients.</a:t>
            </a:r>
          </a:p>
          <a:p>
            <a:pPr marL="128588" indent="-128588">
              <a:spcAft>
                <a:spcPts val="450"/>
              </a:spcAft>
              <a:buFont typeface="Arial" panose="020B0604020202020204" pitchFamily="34" charset="0"/>
              <a:buChar char="•"/>
            </a:pPr>
            <a:r>
              <a:rPr lang="en-US" sz="820" dirty="0" smtClean="0"/>
              <a:t>Quick </a:t>
            </a:r>
            <a:r>
              <a:rPr lang="en-US" sz="820" dirty="0"/>
              <a:t>and easy access to commoditized valuation services while opening the door for clients to access more sophisticated </a:t>
            </a:r>
            <a:r>
              <a:rPr lang="en-US" sz="820" dirty="0" smtClean="0"/>
              <a:t>services.</a:t>
            </a:r>
            <a:endParaRPr lang="en-US" sz="820" dirty="0"/>
          </a:p>
          <a:p>
            <a:pPr marL="128588" indent="-128588">
              <a:spcAft>
                <a:spcPts val="450"/>
              </a:spcAft>
              <a:buFont typeface="Arial" panose="020B0604020202020204" pitchFamily="34" charset="0"/>
              <a:buChar char="•"/>
            </a:pPr>
            <a:r>
              <a:rPr lang="en-US" sz="820" dirty="0"/>
              <a:t>Clearly communicating value</a:t>
            </a:r>
            <a:br>
              <a:rPr lang="en-US" sz="820" dirty="0"/>
            </a:br>
            <a:r>
              <a:rPr lang="en-US" sz="820" dirty="0"/>
              <a:t>drivers and assumptions with a</a:t>
            </a:r>
            <a:br>
              <a:rPr lang="en-US" sz="820" dirty="0"/>
            </a:br>
            <a:r>
              <a:rPr lang="en-US" sz="820" dirty="0"/>
              <a:t>focus on understanding.</a:t>
            </a:r>
          </a:p>
          <a:p>
            <a:pPr marL="128588" indent="-128588">
              <a:spcAft>
                <a:spcPts val="450"/>
              </a:spcAft>
              <a:buFont typeface="Arial" panose="020B0604020202020204" pitchFamily="34" charset="0"/>
              <a:buChar char="•"/>
            </a:pPr>
            <a:r>
              <a:rPr lang="en-US" sz="820" dirty="0" smtClean="0"/>
              <a:t>Ability </a:t>
            </a:r>
            <a:r>
              <a:rPr lang="en-US" sz="820" dirty="0"/>
              <a:t>to interact with results, assumptions, and value drivers with </a:t>
            </a:r>
            <a:r>
              <a:rPr lang="en-US" sz="820" dirty="0" smtClean="0"/>
              <a:t>real-time </a:t>
            </a:r>
            <a:r>
              <a:rPr lang="en-US" sz="820" dirty="0"/>
              <a:t>changes to the output</a:t>
            </a:r>
            <a:r>
              <a:rPr lang="en-US" sz="820" dirty="0" smtClean="0"/>
              <a:t>.</a:t>
            </a:r>
          </a:p>
        </p:txBody>
      </p:sp>
      <p:sp>
        <p:nvSpPr>
          <p:cNvPr id="81" name="AutoShape 4"/>
          <p:cNvSpPr>
            <a:spLocks noChangeArrowheads="1"/>
          </p:cNvSpPr>
          <p:nvPr/>
        </p:nvSpPr>
        <p:spPr bwMode="gray">
          <a:xfrm>
            <a:off x="5867400" y="1470346"/>
            <a:ext cx="1776176" cy="334525"/>
          </a:xfrm>
          <a:prstGeom prst="chevron">
            <a:avLst>
              <a:gd name="adj" fmla="val 34975"/>
            </a:avLst>
          </a:prstGeom>
          <a:solidFill>
            <a:srgbClr val="8C8C8C"/>
          </a:solidFill>
          <a:ln w="12700" cap="rnd" algn="ctr">
            <a:noFill/>
            <a:miter lim="800000"/>
            <a:headEnd/>
            <a:tailEnd/>
          </a:ln>
        </p:spPr>
        <p:txBody>
          <a:bodyPr lIns="80818" tIns="80818" rIns="80818" bIns="80818" anchor="ctr" anchorCtr="0"/>
          <a:lstStyle/>
          <a:p>
            <a:pPr algn="ctr" defTabSz="831281">
              <a:lnSpc>
                <a:spcPct val="106000"/>
              </a:lnSpc>
              <a:defRPr/>
            </a:pPr>
            <a:r>
              <a:rPr lang="en-US" sz="1091" b="1" kern="0" dirty="0">
                <a:solidFill>
                  <a:prstClr val="white"/>
                </a:solidFill>
                <a:latin typeface="Arial"/>
              </a:rPr>
              <a:t>Phase </a:t>
            </a:r>
            <a:r>
              <a:rPr lang="en-US" sz="1091" b="1" kern="0" dirty="0" smtClean="0">
                <a:solidFill>
                  <a:prstClr val="white"/>
                </a:solidFill>
                <a:latin typeface="Arial"/>
              </a:rPr>
              <a:t>2.2: FY17</a:t>
            </a:r>
            <a:endParaRPr lang="en-US" sz="1091" b="1" kern="0" dirty="0">
              <a:solidFill>
                <a:prstClr val="white"/>
              </a:solidFill>
              <a:latin typeface="Arial"/>
            </a:endParaRPr>
          </a:p>
        </p:txBody>
      </p:sp>
      <p:sp>
        <p:nvSpPr>
          <p:cNvPr id="82" name="Rectangle 81"/>
          <p:cNvSpPr/>
          <p:nvPr/>
        </p:nvSpPr>
        <p:spPr>
          <a:xfrm>
            <a:off x="325443" y="1004462"/>
            <a:ext cx="217013" cy="418576"/>
          </a:xfrm>
          <a:prstGeom prst="rect">
            <a:avLst/>
          </a:prstGeom>
        </p:spPr>
        <p:txBody>
          <a:bodyPr wrap="square">
            <a:spAutoFit/>
          </a:bodyPr>
          <a:lstStyle/>
          <a:p>
            <a:pPr lvl="0" algn="ctr" defTabSz="914400" fontAlgn="base">
              <a:lnSpc>
                <a:spcPct val="106000"/>
              </a:lnSpc>
              <a:spcBef>
                <a:spcPct val="50000"/>
              </a:spcBef>
              <a:spcAft>
                <a:spcPct val="0"/>
              </a:spcAft>
              <a:buClr>
                <a:schemeClr val="tx1"/>
              </a:buClr>
              <a:defRPr/>
            </a:pPr>
            <a:r>
              <a:rPr lang="en-US" sz="2000" b="1" dirty="0">
                <a:solidFill>
                  <a:schemeClr val="accent2"/>
                </a:solidFill>
                <a:latin typeface="Arial" charset="0"/>
                <a:sym typeface="Wingdings"/>
              </a:rPr>
              <a:t></a:t>
            </a:r>
            <a:endParaRPr lang="en-US" sz="2000" b="1" dirty="0">
              <a:solidFill>
                <a:schemeClr val="accent2"/>
              </a:solidFill>
              <a:latin typeface="Arial" charset="0"/>
            </a:endParaRPr>
          </a:p>
        </p:txBody>
      </p:sp>
      <p:sp>
        <p:nvSpPr>
          <p:cNvPr id="83" name="Rectangle 82"/>
          <p:cNvSpPr/>
          <p:nvPr/>
        </p:nvSpPr>
        <p:spPr>
          <a:xfrm>
            <a:off x="445169" y="1065464"/>
            <a:ext cx="1311578" cy="222818"/>
          </a:xfrm>
          <a:prstGeom prst="rect">
            <a:avLst/>
          </a:prstGeom>
        </p:spPr>
        <p:txBody>
          <a:bodyPr wrap="none">
            <a:spAutoFit/>
          </a:bodyPr>
          <a:lstStyle/>
          <a:p>
            <a:pPr lvl="0" algn="ctr" defTabSz="914400" fontAlgn="base">
              <a:lnSpc>
                <a:spcPct val="106000"/>
              </a:lnSpc>
              <a:spcBef>
                <a:spcPct val="50000"/>
              </a:spcBef>
              <a:spcAft>
                <a:spcPct val="0"/>
              </a:spcAft>
              <a:buClr>
                <a:schemeClr val="tx1"/>
              </a:buClr>
              <a:defRPr/>
            </a:pPr>
            <a:r>
              <a:rPr lang="en-US" sz="800" b="1" dirty="0" smtClean="0">
                <a:solidFill>
                  <a:schemeClr val="accent2"/>
                </a:solidFill>
                <a:latin typeface="Arial" charset="0"/>
                <a:sym typeface="Wingdings"/>
              </a:rPr>
              <a:t>Limited Pilot deployed </a:t>
            </a:r>
          </a:p>
        </p:txBody>
      </p:sp>
      <p:sp>
        <p:nvSpPr>
          <p:cNvPr id="84" name="Rectangle 83"/>
          <p:cNvSpPr/>
          <p:nvPr/>
        </p:nvSpPr>
        <p:spPr bwMode="auto">
          <a:xfrm>
            <a:off x="8077200" y="1914525"/>
            <a:ext cx="924890" cy="3172958"/>
          </a:xfrm>
          <a:prstGeom prst="rect">
            <a:avLst/>
          </a:prstGeom>
          <a:noFill/>
          <a:ln w="6350" cap="flat" cmpd="sng" algn="ctr">
            <a:noFill/>
            <a:prstDash val="solid"/>
            <a:round/>
            <a:headEnd type="none" w="med" len="med"/>
            <a:tailEnd type="none" w="med" len="med"/>
          </a:ln>
          <a:effectLst/>
        </p:spPr>
        <p:txBody>
          <a:bodyPr vert="horz" wrap="square" lIns="31173" tIns="31173" rIns="31173" bIns="31173" numCol="1" rtlCol="0" anchor="t" anchorCtr="0" compatLnSpc="1">
            <a:prstTxWarp prst="textNoShape">
              <a:avLst/>
            </a:prstTxWarp>
            <a:noAutofit/>
          </a:bodyPr>
          <a:lstStyle/>
          <a:p>
            <a:pPr algn="ctr">
              <a:spcAft>
                <a:spcPts val="450"/>
              </a:spcAft>
            </a:pPr>
            <a:r>
              <a:rPr lang="en-US" sz="800" b="1" dirty="0" smtClean="0"/>
              <a:t>Future Vision</a:t>
            </a:r>
          </a:p>
          <a:p>
            <a:pPr marL="171450" indent="-171450">
              <a:spcAft>
                <a:spcPts val="450"/>
              </a:spcAft>
              <a:buFont typeface="Arial" panose="020B0604020202020204" pitchFamily="34" charset="0"/>
              <a:buChar char="•"/>
            </a:pPr>
            <a:endParaRPr lang="en-US" sz="800" dirty="0"/>
          </a:p>
          <a:p>
            <a:pPr marL="171450" indent="-171450">
              <a:spcAft>
                <a:spcPts val="450"/>
              </a:spcAft>
              <a:buFont typeface="Arial" panose="020B0604020202020204" pitchFamily="34" charset="0"/>
              <a:buChar char="•"/>
            </a:pPr>
            <a:r>
              <a:rPr lang="en-US" sz="820" dirty="0"/>
              <a:t>Providing holistic and value-add services.</a:t>
            </a:r>
          </a:p>
          <a:p>
            <a:pPr marL="171450" indent="-171450">
              <a:spcAft>
                <a:spcPts val="450"/>
              </a:spcAft>
              <a:buFont typeface="Arial" panose="020B0604020202020204" pitchFamily="34" charset="0"/>
              <a:buChar char="•"/>
            </a:pPr>
            <a:endParaRPr lang="en-US" sz="820" dirty="0"/>
          </a:p>
          <a:p>
            <a:pPr marL="171450" indent="-171450">
              <a:spcAft>
                <a:spcPts val="450"/>
              </a:spcAft>
              <a:buFont typeface="Arial" panose="020B0604020202020204" pitchFamily="34" charset="0"/>
              <a:buChar char="•"/>
            </a:pPr>
            <a:r>
              <a:rPr lang="en-US" sz="820" dirty="0"/>
              <a:t>Narrative science  &amp; Cognitive</a:t>
            </a:r>
          </a:p>
          <a:p>
            <a:pPr marL="171450" indent="-171450">
              <a:spcAft>
                <a:spcPts val="450"/>
              </a:spcAft>
              <a:buFont typeface="Arial" panose="020B0604020202020204" pitchFamily="34" charset="0"/>
              <a:buChar char="•"/>
            </a:pPr>
            <a:r>
              <a:rPr lang="en-US" sz="820" dirty="0"/>
              <a:t>Monetization of VKG </a:t>
            </a:r>
          </a:p>
        </p:txBody>
      </p:sp>
      <p:sp>
        <p:nvSpPr>
          <p:cNvPr id="85" name="AutoShape 4"/>
          <p:cNvSpPr>
            <a:spLocks noChangeArrowheads="1"/>
          </p:cNvSpPr>
          <p:nvPr/>
        </p:nvSpPr>
        <p:spPr bwMode="gray">
          <a:xfrm>
            <a:off x="7745262" y="1463475"/>
            <a:ext cx="1322538" cy="327994"/>
          </a:xfrm>
          <a:prstGeom prst="chevron">
            <a:avLst>
              <a:gd name="adj" fmla="val 34975"/>
            </a:avLst>
          </a:prstGeom>
          <a:solidFill>
            <a:srgbClr val="8C8C8C"/>
          </a:solidFill>
          <a:ln w="12700" cap="rnd" algn="ctr">
            <a:noFill/>
            <a:miter lim="800000"/>
            <a:headEnd/>
            <a:tailEnd/>
          </a:ln>
        </p:spPr>
        <p:txBody>
          <a:bodyPr lIns="80818" tIns="80818" rIns="80818" bIns="80818" anchor="ctr" anchorCtr="0"/>
          <a:lstStyle/>
          <a:p>
            <a:pPr algn="ctr" defTabSz="831281">
              <a:lnSpc>
                <a:spcPct val="106000"/>
              </a:lnSpc>
              <a:defRPr/>
            </a:pPr>
            <a:r>
              <a:rPr lang="en-US" sz="1000" b="1" kern="0" dirty="0">
                <a:solidFill>
                  <a:prstClr val="white"/>
                </a:solidFill>
                <a:latin typeface="Arial"/>
              </a:rPr>
              <a:t>Phase 3: FY18</a:t>
            </a:r>
          </a:p>
        </p:txBody>
      </p:sp>
      <p:sp>
        <p:nvSpPr>
          <p:cNvPr id="86" name="Right Brace 85"/>
          <p:cNvSpPr/>
          <p:nvPr/>
        </p:nvSpPr>
        <p:spPr>
          <a:xfrm rot="16200000">
            <a:off x="5911893" y="-55105"/>
            <a:ext cx="107965" cy="252321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7" name="TextBox 86"/>
          <p:cNvSpPr txBox="1"/>
          <p:nvPr/>
        </p:nvSpPr>
        <p:spPr>
          <a:xfrm>
            <a:off x="2246636" y="1013281"/>
            <a:ext cx="1410964" cy="215444"/>
          </a:xfrm>
          <a:prstGeom prst="rect">
            <a:avLst/>
          </a:prstGeom>
          <a:noFill/>
        </p:spPr>
        <p:txBody>
          <a:bodyPr wrap="none" rtlCol="0">
            <a:spAutoFit/>
          </a:bodyPr>
          <a:lstStyle/>
          <a:p>
            <a:r>
              <a:rPr lang="en-US" sz="800" dirty="0">
                <a:solidFill>
                  <a:srgbClr val="00B0F0"/>
                </a:solidFill>
              </a:rPr>
              <a:t>Will be completed in FY 16</a:t>
            </a:r>
          </a:p>
        </p:txBody>
      </p:sp>
      <p:sp>
        <p:nvSpPr>
          <p:cNvPr id="88" name="Right Brace 87"/>
          <p:cNvSpPr/>
          <p:nvPr/>
        </p:nvSpPr>
        <p:spPr>
          <a:xfrm rot="16200000">
            <a:off x="2836680" y="538115"/>
            <a:ext cx="139384" cy="136820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89" name="Group 88"/>
          <p:cNvGrpSpPr/>
          <p:nvPr/>
        </p:nvGrpSpPr>
        <p:grpSpPr>
          <a:xfrm>
            <a:off x="762901" y="5893743"/>
            <a:ext cx="6018899" cy="230832"/>
            <a:chOff x="469488" y="4711492"/>
            <a:chExt cx="6018899" cy="230832"/>
          </a:xfrm>
        </p:grpSpPr>
        <p:sp>
          <p:nvSpPr>
            <p:cNvPr id="90" name="Rectangle 89"/>
            <p:cNvSpPr/>
            <p:nvPr/>
          </p:nvSpPr>
          <p:spPr>
            <a:xfrm>
              <a:off x="990600" y="4763453"/>
              <a:ext cx="5029201" cy="137426"/>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p:cNvSpPr txBox="1"/>
            <p:nvPr/>
          </p:nvSpPr>
          <p:spPr>
            <a:xfrm>
              <a:off x="469488" y="4711492"/>
              <a:ext cx="6018899" cy="230832"/>
            </a:xfrm>
            <a:prstGeom prst="rect">
              <a:avLst/>
            </a:prstGeom>
            <a:noFill/>
            <a:ln>
              <a:noFill/>
            </a:ln>
          </p:spPr>
          <p:txBody>
            <a:bodyPr wrap="square" rtlCol="0">
              <a:spAutoFit/>
            </a:bodyPr>
            <a:lstStyle/>
            <a:p>
              <a:pPr algn="ctr"/>
              <a:r>
                <a:rPr lang="en-US" sz="900" b="1" dirty="0" smtClean="0"/>
                <a:t>Data enrichment, enriched reporting, change mgt. are ongoing activities across FY 16/17</a:t>
              </a:r>
            </a:p>
          </p:txBody>
        </p:sp>
      </p:grpSp>
      <p:sp>
        <p:nvSpPr>
          <p:cNvPr id="92" name="TextBox 91"/>
          <p:cNvSpPr txBox="1"/>
          <p:nvPr/>
        </p:nvSpPr>
        <p:spPr>
          <a:xfrm>
            <a:off x="7917454" y="998527"/>
            <a:ext cx="978153" cy="215444"/>
          </a:xfrm>
          <a:prstGeom prst="rect">
            <a:avLst/>
          </a:prstGeom>
          <a:noFill/>
        </p:spPr>
        <p:txBody>
          <a:bodyPr wrap="none" rtlCol="0">
            <a:spAutoFit/>
          </a:bodyPr>
          <a:lstStyle/>
          <a:p>
            <a:r>
              <a:rPr lang="en-US" sz="800" dirty="0" smtClean="0">
                <a:solidFill>
                  <a:srgbClr val="00B0F0"/>
                </a:solidFill>
              </a:rPr>
              <a:t>Looking Ahead…</a:t>
            </a:r>
            <a:endParaRPr lang="en-US" sz="800" dirty="0">
              <a:solidFill>
                <a:srgbClr val="00B0F0"/>
              </a:solidFill>
            </a:endParaRPr>
          </a:p>
        </p:txBody>
      </p:sp>
      <p:sp>
        <p:nvSpPr>
          <p:cNvPr id="93" name="Right Brace 92"/>
          <p:cNvSpPr/>
          <p:nvPr/>
        </p:nvSpPr>
        <p:spPr>
          <a:xfrm rot="16200000">
            <a:off x="8314008" y="517733"/>
            <a:ext cx="139384" cy="136820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4" name="Rectangle 93"/>
          <p:cNvSpPr/>
          <p:nvPr/>
        </p:nvSpPr>
        <p:spPr>
          <a:xfrm>
            <a:off x="3790719" y="992545"/>
            <a:ext cx="217013" cy="418576"/>
          </a:xfrm>
          <a:prstGeom prst="rect">
            <a:avLst/>
          </a:prstGeom>
        </p:spPr>
        <p:txBody>
          <a:bodyPr wrap="square">
            <a:spAutoFit/>
          </a:bodyPr>
          <a:lstStyle/>
          <a:p>
            <a:pPr lvl="0" algn="ctr" defTabSz="914400" fontAlgn="base">
              <a:lnSpc>
                <a:spcPct val="106000"/>
              </a:lnSpc>
              <a:spcBef>
                <a:spcPct val="50000"/>
              </a:spcBef>
              <a:spcAft>
                <a:spcPct val="0"/>
              </a:spcAft>
              <a:buClr>
                <a:schemeClr val="tx1"/>
              </a:buClr>
              <a:defRPr/>
            </a:pPr>
            <a:r>
              <a:rPr lang="en-US" sz="2000" b="1" dirty="0">
                <a:solidFill>
                  <a:schemeClr val="accent2"/>
                </a:solidFill>
                <a:latin typeface="Arial" charset="0"/>
                <a:sym typeface="Wingdings"/>
              </a:rPr>
              <a:t></a:t>
            </a:r>
            <a:endParaRPr lang="en-US" sz="2000" b="1" dirty="0">
              <a:solidFill>
                <a:schemeClr val="accent2"/>
              </a:solidFill>
              <a:latin typeface="Arial" charset="0"/>
            </a:endParaRPr>
          </a:p>
        </p:txBody>
      </p:sp>
      <p:sp>
        <p:nvSpPr>
          <p:cNvPr id="95" name="Rectangle 94"/>
          <p:cNvSpPr/>
          <p:nvPr/>
        </p:nvSpPr>
        <p:spPr>
          <a:xfrm>
            <a:off x="3920314" y="1000125"/>
            <a:ext cx="1350050" cy="222818"/>
          </a:xfrm>
          <a:prstGeom prst="rect">
            <a:avLst/>
          </a:prstGeom>
        </p:spPr>
        <p:txBody>
          <a:bodyPr wrap="none">
            <a:spAutoFit/>
          </a:bodyPr>
          <a:lstStyle/>
          <a:p>
            <a:pPr lvl="0" algn="ctr" defTabSz="914400" fontAlgn="base">
              <a:lnSpc>
                <a:spcPct val="106000"/>
              </a:lnSpc>
              <a:spcBef>
                <a:spcPct val="50000"/>
              </a:spcBef>
              <a:spcAft>
                <a:spcPct val="0"/>
              </a:spcAft>
              <a:buClr>
                <a:schemeClr val="tx1"/>
              </a:buClr>
              <a:defRPr/>
            </a:pPr>
            <a:r>
              <a:rPr lang="en-US" sz="800" b="1" dirty="0" smtClean="0">
                <a:solidFill>
                  <a:schemeClr val="accent2"/>
                </a:solidFill>
                <a:latin typeface="Arial" charset="0"/>
                <a:sym typeface="Wingdings"/>
              </a:rPr>
              <a:t>FY 17 Budget Approved</a:t>
            </a:r>
          </a:p>
        </p:txBody>
      </p:sp>
      <p:sp>
        <p:nvSpPr>
          <p:cNvPr id="96" name="Text Placeholder 1"/>
          <p:cNvSpPr>
            <a:spLocks noGrp="1"/>
          </p:cNvSpPr>
          <p:nvPr>
            <p:ph type="body" sz="quarter" idx="13"/>
          </p:nvPr>
        </p:nvSpPr>
        <p:spPr>
          <a:xfrm>
            <a:off x="428759" y="600018"/>
            <a:ext cx="8388000" cy="258985"/>
          </a:xfrm>
        </p:spPr>
        <p:txBody>
          <a:bodyPr/>
          <a:lstStyle/>
          <a:p>
            <a:r>
              <a:rPr lang="en-US" sz="1200" dirty="0">
                <a:solidFill>
                  <a:srgbClr val="575757"/>
                </a:solidFill>
              </a:rPr>
              <a:t>ValueD. will serve all valuation professionals globally and their </a:t>
            </a:r>
            <a:r>
              <a:rPr lang="en-US" sz="1200" dirty="0" smtClean="0">
                <a:solidFill>
                  <a:srgbClr val="575757"/>
                </a:solidFill>
              </a:rPr>
              <a:t>clients</a:t>
            </a:r>
            <a:endParaRPr lang="en-US" sz="1200" dirty="0">
              <a:solidFill>
                <a:srgbClr val="575757"/>
              </a:solidFill>
            </a:endParaRPr>
          </a:p>
        </p:txBody>
      </p:sp>
    </p:spTree>
    <p:extLst>
      <p:ext uri="{BB962C8B-B14F-4D97-AF65-F5344CB8AC3E}">
        <p14:creationId xmlns:p14="http://schemas.microsoft.com/office/powerpoint/2010/main" val="260593065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a:bodyPr>
          <a:lstStyle/>
          <a:p>
            <a:r>
              <a:rPr lang="en-US" dirty="0"/>
              <a:t>Deloitte refers to one or more of Deloitte </a:t>
            </a:r>
            <a:r>
              <a:rPr lang="en-US" dirty="0" err="1"/>
              <a:t>Touche</a:t>
            </a:r>
            <a:r>
              <a:rPr lang="en-US"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dirty="0">
                <a:hlinkClick r:id="rId3"/>
              </a:rPr>
              <a:t>www.deloitte.com/about</a:t>
            </a:r>
            <a:r>
              <a:rPr lang="en-US" dirty="0"/>
              <a:t> for a more detailed description of DTTL and its member firms</a:t>
            </a:r>
            <a:r>
              <a:rPr lang="en-US" dirty="0" smtClean="0"/>
              <a:t>.</a:t>
            </a:r>
          </a:p>
          <a:p>
            <a:r>
              <a:rPr lang="en-US" dirty="0" smtClean="0"/>
              <a:t>This </a:t>
            </a:r>
            <a:r>
              <a:rPr lang="en-US" dirty="0"/>
              <a:t>communication is for internal distribution and use only among personnel of Deloitte </a:t>
            </a:r>
            <a:r>
              <a:rPr lang="en-US" dirty="0" err="1"/>
              <a:t>Touche</a:t>
            </a:r>
            <a:r>
              <a:rPr lang="en-US" dirty="0"/>
              <a:t> Tohmatsu Limited, its member firms, and their related entities (collectively, the “Deloitte network”). None of the Deloitte network shall be responsible for any loss whatsoever sustained by any person who relies on this communication</a:t>
            </a:r>
            <a:r>
              <a:rPr lang="en-US" dirty="0" smtClean="0"/>
              <a:t>.</a:t>
            </a:r>
          </a:p>
          <a:p>
            <a:r>
              <a:rPr lang="fr-CA" dirty="0"/>
              <a:t>© 2016. For information, contact Deloitte Touche </a:t>
            </a:r>
            <a:r>
              <a:rPr lang="fr-CA" dirty="0" err="1"/>
              <a:t>Tohmatsu</a:t>
            </a:r>
            <a:r>
              <a:rPr lang="fr-CA" dirty="0"/>
              <a:t> </a:t>
            </a:r>
            <a:r>
              <a:rPr lang="fr-CA" dirty="0" smtClean="0"/>
              <a:t>Limited</a:t>
            </a:r>
            <a:endParaRPr lang="fr-CA" dirty="0"/>
          </a:p>
        </p:txBody>
      </p:sp>
    </p:spTree>
    <p:extLst>
      <p:ext uri="{BB962C8B-B14F-4D97-AF65-F5344CB8AC3E}">
        <p14:creationId xmlns:p14="http://schemas.microsoft.com/office/powerpoint/2010/main" val="136580407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GTS_Deloitte_4_3_Onscreen_062016.potx" id="{77F34E30-731D-4A0C-82A7-32C67739B594}" vid="{82CF09F0-01C0-4506-BCCD-137EA9C67EF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D0A64AF49335904C80AB705613FC51AB" ma:contentTypeVersion="15" ma:contentTypeDescription="Intranet Attachment - Content Type" ma:contentTypeScope="" ma:versionID="1d602eb9e10d825d471be23e5644133c">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68b7aa03-ff7c-497a-a1fd-d84789ab39b0" xmlns:ns8="39C40E9B-856B-46A7-8793-65A6FC1828D8" xmlns:ns9="442f2b2c-5279-4ff8-be3f-75846c1ce241" xmlns:ns11="203f0f4d-b3b9-4ed8-8c19-eebed11dd308" targetNamespace="http://schemas.microsoft.com/office/2006/metadata/properties" ma:root="true" ma:fieldsID="410a10657d7d7e331872f2c2acb250da" ns1:_="" ns2:_="" ns4:_="" ns5:_="" ns6:_="" ns7:_="" ns8:_="" ns9:_="" ns11: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68b7aa03-ff7c-497a-a1fd-d84789ab39b0"/>
    <xsd:import namespace="39C40E9B-856B-46A7-8793-65A6FC1828D8"/>
    <xsd:import namespace="442f2b2c-5279-4ff8-be3f-75846c1ce241"/>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9:Year_x002e_" minOccurs="0"/>
                <xsd:element ref="ns9:Month_x002e_" minOccurs="0"/>
                <xsd:element ref="ns7:_dlc_DocId" minOccurs="0"/>
                <xsd:element ref="ns7:_dlc_DocIdUrl" minOccurs="0"/>
                <xsd:element ref="ns7:_dlc_DocIdPersistId" minOccurs="0"/>
                <xsd:element ref="ns7:SearchComment" minOccurs="0"/>
                <xsd:element ref="ns7:SearchKeywords" minOccurs="0"/>
                <xsd:element ref="ns11: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element name="PublishingContact" ma:index="2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8b7aa03-ff7c-497a-a1fd-d84789ab39b0"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list="{c8cea45d-e306-4f28-8ad5-fb9fe57e6980}" ma:internalName="TaxCatchAll" ma:showField="CatchAllData" ma:web="68b7aa03-ff7c-497a-a1fd-d84789ab39b0">
      <xsd:complexType>
        <xsd:complexContent>
          <xsd:extension base="dms:MultiChoiceLookup">
            <xsd:sequence>
              <xsd:element name="Value" type="dms:Lookup" maxOccurs="unbounded" minOccurs="0" nillable="true"/>
            </xsd:sequence>
          </xsd:extension>
        </xsd:complexContent>
      </xsd:complexType>
    </xsd:element>
    <xsd:element name="_dlc_DocId" ma:index="32" nillable="true" ma:displayName="Document ID Value" ma:description="The value of the document ID assigned to this item." ma:internalName="_dlc_DocId" ma:readOnly="true">
      <xsd:simpleType>
        <xsd:restriction base="dms:Text"/>
      </xsd:simpleType>
    </xsd:element>
    <xsd:element name="_dlc_DocIdUrl" ma:index="3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4" nillable="true" ma:displayName="Persist ID" ma:description="Keep ID on add." ma:hidden="true" ma:internalName="_dlc_DocIdPersistId" ma:readOnly="true">
      <xsd:simpleType>
        <xsd:restriction base="dms:Boolean"/>
      </xsd:simpleType>
    </xsd:element>
    <xsd:element name="SearchComment" ma:index="36" nillable="true" ma:displayName="Comment" ma:internalName="SearchComment">
      <xsd:simpleType>
        <xsd:restriction base="dms:Note">
          <xsd:maxLength value="255"/>
        </xsd:restriction>
      </xsd:simpleType>
    </xsd:element>
    <xsd:element name="SearchKeywords" ma:index="37"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42f2b2c-5279-4ff8-be3f-75846c1ce241" elementFormDefault="qualified">
    <xsd:import namespace="http://schemas.microsoft.com/office/2006/documentManagement/types"/>
    <xsd:import namespace="http://schemas.microsoft.com/office/infopath/2007/PartnerControls"/>
    <xsd:element name="Year_x002e_" ma:index="30" nillable="true" ma:displayName="Year." ma:format="Dropdown" ma:internalName="Year_x002e_">
      <xsd:simpleType>
        <xsd:restriction base="dms:Choice">
          <xsd:enumeration value="2016"/>
          <xsd:enumeration value="2015"/>
          <xsd:enumeration value="2014"/>
          <xsd:enumeration value="2013"/>
          <xsd:enumeration value="2012"/>
          <xsd:enumeration value="2011"/>
        </xsd:restriction>
      </xsd:simpleType>
    </xsd:element>
    <xsd:element name="Month_x002e_" ma:index="31" nillable="true" ma:displayName="Month." ma:format="Dropdown" ma:internalName="Month_x002e_">
      <xsd:simpleType>
        <xsd:restriction base="dms:Choice">
          <xsd:enumeration value="01. January"/>
          <xsd:enumeration value="02. February"/>
          <xsd:enumeration value="03. March"/>
          <xsd:enumeration value="04. April"/>
          <xsd:enumeration value="05. May"/>
          <xsd:enumeration value="06. June"/>
          <xsd:enumeration value="07. July"/>
          <xsd:enumeration value="08. August"/>
          <xsd:enumeration value="09. September"/>
          <xsd:enumeration value="10. October"/>
          <xsd:enumeration value="11. November"/>
          <xsd:enumeration value="12. December"/>
        </xsd:restriction>
      </xsd:simple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8"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s"/>
        <xsd:element ref="dc:subject" minOccurs="0" maxOccurs="1" ma:index="35"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SearchComment xmlns="68b7aa03-ff7c-497a-a1fd-d84789ab39b0" xsi:nil="true"/>
    <Year_x002e_ xmlns="442f2b2c-5279-4ff8-be3f-75846c1ce241" xsi:nil="true"/>
    <TaxCatchAll xmlns="68b7aa03-ff7c-497a-a1fd-d84789ab39b0">
      <Value>299</Value>
      <Value>2</Value>
    </TaxCatchAll>
    <Month_x002e_ xmlns="442f2b2c-5279-4ff8-be3f-75846c1ce241" xsi:nil="true"/>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SearchKeywords xmlns="68b7aa03-ff7c-497a-a1fd-d84789ab39b0" xsi:nil="true"/>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PublishingStartDate xmlns="http://schemas.microsoft.com/sharepoint/v3" xsi:nil="true"/>
    <TaxKeywordTaxHTField xmlns="68b7aa03-ff7c-497a-a1fd-d84789ab39b0">
      <Terms xmlns="http://schemas.microsoft.com/office/infopath/2007/PartnerControls"/>
    </TaxKeywordTaxHTField>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_dlc_DocId xmlns="68b7aa03-ff7c-497a-a1fd-d84789ab39b0">77ZPKXTFVVWT-252-365</_dlc_DocId>
    <_dlc_DocIdUrl xmlns="68b7aa03-ff7c-497a-a1fd-d84789ab39b0">
      <Url>https://wt.deloitteresources.com/occ/gtsbo/comms/_layouts/15/DocIdRedir.aspx?ID=77ZPKXTFVVWT-252-365</Url>
      <Description>77ZPKXTFVVWT-252-365</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6F4F395-EEA3-4868-9D08-20F3B0942680}">
  <ds:schemaRefs>
    <ds:schemaRef ds:uri="http://schemas.microsoft.com/sharepoint/v3/contenttype/forms"/>
  </ds:schemaRefs>
</ds:datastoreItem>
</file>

<file path=customXml/itemProps2.xml><?xml version="1.0" encoding="utf-8"?>
<ds:datastoreItem xmlns:ds="http://schemas.openxmlformats.org/officeDocument/2006/customXml" ds:itemID="{1D9CBBB8-D682-4CDE-BB0A-EEA475C843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68b7aa03-ff7c-497a-a1fd-d84789ab39b0"/>
    <ds:schemaRef ds:uri="39C40E9B-856B-46A7-8793-65A6FC1828D8"/>
    <ds:schemaRef ds:uri="442f2b2c-5279-4ff8-be3f-75846c1ce241"/>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6D6B36-A535-4742-A569-F8DD0BC89F7C}">
  <ds:schemaRefs>
    <ds:schemaRef ds:uri="5a51c775-c49c-428b-8c1e-2f89178d00f4"/>
    <ds:schemaRef ds:uri="7D1768DD-F29E-4DC2-9191-F2636B9FA92C"/>
    <ds:schemaRef ds:uri="http://www.w3.org/XML/1998/namespace"/>
    <ds:schemaRef ds:uri="442f2b2c-5279-4ff8-be3f-75846c1ce241"/>
    <ds:schemaRef ds:uri="http://purl.org/dc/elements/1.1/"/>
    <ds:schemaRef ds:uri="http://schemas.openxmlformats.org/package/2006/metadata/core-properties"/>
    <ds:schemaRef ds:uri="http://purl.org/dc/terms/"/>
    <ds:schemaRef ds:uri="203f0f4d-b3b9-4ed8-8c19-eebed11dd308"/>
    <ds:schemaRef ds:uri="68b7aa03-ff7c-497a-a1fd-d84789ab39b0"/>
    <ds:schemaRef ds:uri="83DDB362-4C05-4E52-A8D9-EF2F47978B8D"/>
    <ds:schemaRef ds:uri="http://schemas.microsoft.com/sharepoint/v3"/>
    <ds:schemaRef ds:uri="http://schemas.microsoft.com/office/2006/metadata/properties"/>
    <ds:schemaRef ds:uri="http://schemas.microsoft.com/office/infopath/2007/PartnerControls"/>
    <ds:schemaRef ds:uri="http://purl.org/dc/dcmitype/"/>
    <ds:schemaRef ds:uri="8DD08C88-CC4C-4D35-9129-A70DAA36BE5E"/>
    <ds:schemaRef ds:uri="39C40E9B-856B-46A7-8793-65A6FC1828D8"/>
    <ds:schemaRef ds:uri="http://schemas.microsoft.com/office/2006/documentManagement/types"/>
  </ds:schemaRefs>
</ds:datastoreItem>
</file>

<file path=customXml/itemProps4.xml><?xml version="1.0" encoding="utf-8"?>
<ds:datastoreItem xmlns:ds="http://schemas.openxmlformats.org/officeDocument/2006/customXml" ds:itemID="{6206D29F-D742-4FE8-908B-2FAABFE5B52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TS_Deloitte_4_3_Onscreen_062016 (1)</Template>
  <TotalTime>94</TotalTime>
  <Words>542</Words>
  <Application>Microsoft Office PowerPoint</Application>
  <PresentationFormat>On-screen Show (4:3)</PresentationFormat>
  <Paragraphs>122</Paragraphs>
  <Slides>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Open Sans</vt:lpstr>
      <vt:lpstr>Verdana</vt:lpstr>
      <vt:lpstr>Wingdings</vt:lpstr>
      <vt:lpstr>Deloitte 16_9 onscreen</vt:lpstr>
      <vt:lpstr>think-cell Slide</vt:lpstr>
      <vt:lpstr>Headline Verdana Bold</vt:lpstr>
      <vt:lpstr>PowerPoint Presentation</vt:lpstr>
      <vt:lpstr>Appendix</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Olickal, Thomas</dc:creator>
  <cp:lastModifiedBy>Mannino, Catherine</cp:lastModifiedBy>
  <cp:revision>10</cp:revision>
  <cp:lastPrinted>2014-06-25T02:16:22Z</cp:lastPrinted>
  <dcterms:created xsi:type="dcterms:W3CDTF">2016-06-27T21:05:20Z</dcterms:created>
  <dcterms:modified xsi:type="dcterms:W3CDTF">2017-07-07T13:2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D0A64AF49335904C80AB705613FC51AB</vt:lpwstr>
  </property>
  <property fmtid="{D5CDD505-2E9C-101B-9397-08002B2CF9AE}" pid="3" name="_dlc_DocIdItemGuid">
    <vt:lpwstr>b4883b41-719b-489f-812f-6afa6a4bb606</vt:lpwstr>
  </property>
  <property fmtid="{D5CDD505-2E9C-101B-9397-08002B2CF9AE}" pid="4" name="Local Content Type">
    <vt:lpwstr/>
  </property>
  <property fmtid="{D5CDD505-2E9C-101B-9397-08002B2CF9AE}" pid="5" name="TaxKeyword">
    <vt:lpwstr/>
  </property>
  <property fmtid="{D5CDD505-2E9C-101B-9397-08002B2CF9AE}" pid="6" name="Geography">
    <vt:lpwstr>299;#Global (2542)|163e196f-7511-4639-90b6-ed85c9d9c37c</vt:lpwstr>
  </property>
  <property fmtid="{D5CDD505-2E9C-101B-9397-08002B2CF9AE}" pid="7" name="Global Client Services">
    <vt:lpwstr/>
  </property>
  <property fmtid="{D5CDD505-2E9C-101B-9397-08002B2CF9AE}" pid="8" name="Local Industry">
    <vt:lpwstr/>
  </property>
  <property fmtid="{D5CDD505-2E9C-101B-9397-08002B2CF9AE}" pid="9" name="Global Industry">
    <vt:lpwstr/>
  </property>
  <property fmtid="{D5CDD505-2E9C-101B-9397-08002B2CF9AE}" pid="10" name="Global Content Type">
    <vt:lpwstr/>
  </property>
  <property fmtid="{D5CDD505-2E9C-101B-9397-08002B2CF9AE}" pid="11" name="LanguageB">
    <vt:lpwstr>2;#English|b169a262-1aaa-4ccb-9acf-78a36c1d9bab</vt:lpwstr>
  </property>
  <property fmtid="{D5CDD505-2E9C-101B-9397-08002B2CF9AE}" pid="12" name="Local Client Services">
    <vt:lpwstr/>
  </property>
</Properties>
</file>